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22"/>
  </p:notesMasterIdLst>
  <p:sldIdLst>
    <p:sldId id="256" r:id="rId5"/>
    <p:sldId id="265" r:id="rId6"/>
    <p:sldId id="282" r:id="rId7"/>
    <p:sldId id="295" r:id="rId8"/>
    <p:sldId id="283" r:id="rId9"/>
    <p:sldId id="278" r:id="rId10"/>
    <p:sldId id="270" r:id="rId11"/>
    <p:sldId id="257" r:id="rId12"/>
    <p:sldId id="292" r:id="rId13"/>
    <p:sldId id="294" r:id="rId14"/>
    <p:sldId id="288" r:id="rId15"/>
    <p:sldId id="296" r:id="rId16"/>
    <p:sldId id="286" r:id="rId17"/>
    <p:sldId id="291" r:id="rId18"/>
    <p:sldId id="297" r:id="rId19"/>
    <p:sldId id="276" r:id="rId20"/>
    <p:sldId id="263" r:id="rId21"/>
  </p:sldIdLst>
  <p:sldSz cx="24384000" cy="13716000"/>
  <p:notesSz cx="6858000" cy="9144000"/>
  <p:custDataLst>
    <p:tags r:id="rId23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1pPr>
    <a:lvl2pPr marL="0" marR="0" indent="2286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2pPr>
    <a:lvl3pPr marL="0" marR="0" indent="4572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3pPr>
    <a:lvl4pPr marL="0" marR="0" indent="6858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4pPr>
    <a:lvl5pPr marL="0" marR="0" indent="9144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5pPr>
    <a:lvl6pPr marL="0" marR="0" indent="11430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6pPr>
    <a:lvl7pPr marL="0" marR="0" indent="13716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7pPr>
    <a:lvl8pPr marL="0" marR="0" indent="16002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8pPr>
    <a:lvl9pPr marL="0" marR="0" indent="18288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4365" userDrawn="1">
          <p15:clr>
            <a:srgbClr val="A4A3A4"/>
          </p15:clr>
        </p15:guide>
        <p15:guide id="2" pos="6659" userDrawn="1">
          <p15:clr>
            <a:srgbClr val="A4A3A4"/>
          </p15:clr>
        </p15:guide>
        <p15:guide id="3" pos="1047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C850"/>
    <a:srgbClr val="FF503C"/>
    <a:srgbClr val="81DD83"/>
    <a:srgbClr val="79E595"/>
    <a:srgbClr val="6CF27C"/>
    <a:srgbClr val="96FA64"/>
    <a:srgbClr val="FF645A"/>
    <a:srgbClr val="FF6464"/>
    <a:srgbClr val="00EA6A"/>
    <a:srgbClr val="00F6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33"/>
    <p:restoredTop sz="87093" autoAdjust="0"/>
  </p:normalViewPr>
  <p:slideViewPr>
    <p:cSldViewPr snapToGrid="0">
      <p:cViewPr varScale="1">
        <p:scale>
          <a:sx n="20" d="100"/>
          <a:sy n="20" d="100"/>
        </p:scale>
        <p:origin x="420" y="42"/>
      </p:cViewPr>
      <p:guideLst>
        <p:guide orient="horz" pos="4365"/>
        <p:guide pos="6659"/>
        <p:guide pos="1047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opov.k\Downloads\&#1044;&#1083;&#1103;%20&#1072;&#1082;&#1090;&#1091;&#1072;&#1083;&#1100;&#1085;&#1086;&#1089;&#1090;&#1080;%20&#1087;&#1086;%20&#1078;&#1091;&#1088;&#1085;&#1072;&#1083;&#1072;&#1084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E:\&#1040;&#1089;&#1087;&#1080;&#1088;&#1072;&#1085;&#1090;&#1091;&#1088;&#1072;\&#1040;&#1087;&#1088;&#1077;&#1083;&#1100;&#1089;&#1082;&#1080;&#1081;%20workshop%20&#1080;%20&#1053;&#1048;&#1057;%20&#1050;&#1060;\&#1042;&#1099;&#1073;&#1086;&#1088;&#1082;&#1072;_&#1059;&#1087;&#1088;&#1086;&#1097;&#1077;&#1085;&#1085;&#1072;&#1103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5;&#1086;&#1083;&#1100;&#1079;&#1086;&#1074;&#1072;&#1090;&#1077;&#1083;&#1100;\Documents\&#1040;&#1089;&#1087;&#1080;&#1088;&#1072;&#1085;&#1090;&#1091;&#1088;&#1072;\&#1040;&#1087;&#1088;&#1077;&#1083;&#1100;&#1089;&#1082;&#1080;&#1081;%20workshop%20&#1080;%20&#1053;&#1048;&#1057;%20&#1050;&#1060;\&#1044;&#1083;&#1103;%20&#1075;&#1088;&#1072;&#1092;&#1080;&#1082;&#1086;&#1074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5;&#1086;&#1083;&#1100;&#1079;&#1086;&#1074;&#1072;&#1090;&#1077;&#1083;&#1100;\Documents\&#1040;&#1089;&#1087;&#1080;&#1088;&#1072;&#1085;&#1090;&#1091;&#1088;&#1072;\&#1040;&#1087;&#1088;&#1077;&#1083;&#1100;&#1089;&#1082;&#1080;&#1081;%20workshop%20&#1080;%20&#1053;&#1048;&#1057;%20&#1050;&#1060;\&#1044;&#1083;&#1103;%20&#1075;&#1088;&#1072;&#1092;&#1080;&#1082;&#1086;&#1074;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5;&#1086;&#1083;&#1100;&#1079;&#1086;&#1074;&#1072;&#1090;&#1077;&#1083;&#1100;\Documents\&#1040;&#1089;&#1087;&#1080;&#1088;&#1072;&#1085;&#1090;&#1091;&#1088;&#1072;\&#1040;&#1087;&#1088;&#1077;&#1083;&#1100;&#1089;&#1082;&#1080;&#1081;%20workshop%20&#1080;%20&#1053;&#1048;&#1057;%20&#1050;&#1060;\&#1044;&#1083;&#1103;%20&#1075;&#1088;&#1072;&#1092;&#1080;&#1082;&#1086;&#1074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5;&#1086;&#1083;&#1100;&#1079;&#1086;&#1074;&#1072;&#1090;&#1077;&#1083;&#1100;\Documents\&#1040;&#1089;&#1087;&#1080;&#1088;&#1072;&#1085;&#1090;&#1091;&#1088;&#1072;\&#1040;&#1087;&#1088;&#1077;&#1083;&#1100;&#1089;&#1082;&#1080;&#1081;%20workshop%20&#1080;%20&#1053;&#1048;&#1057;%20&#1050;&#1060;\&#1044;&#1083;&#1103;%20&#1075;&#1088;&#1072;&#1092;&#1080;&#1082;&#1086;&#1074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pPr>
            <a:r>
              <a:rPr lang="en-US" sz="2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ets</a:t>
            </a:r>
            <a:r>
              <a:rPr lang="en-US" sz="2200" b="1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Under Management of ESG Investment Funds, $</a:t>
            </a:r>
            <a:r>
              <a:rPr lang="en-US" sz="2200" b="1" baseline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ln</a:t>
            </a:r>
            <a:r>
              <a:rPr lang="en-US" sz="2200" b="1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none" spc="0" normalizeH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Equiti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Лист1!$A$2:$A$11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200</c:v>
                </c:pt>
                <c:pt idx="1">
                  <c:v>185</c:v>
                </c:pt>
                <c:pt idx="2">
                  <c:v>200</c:v>
                </c:pt>
                <c:pt idx="3">
                  <c:v>240</c:v>
                </c:pt>
                <c:pt idx="4">
                  <c:v>285</c:v>
                </c:pt>
                <c:pt idx="5">
                  <c:v>300</c:v>
                </c:pt>
                <c:pt idx="6">
                  <c:v>320</c:v>
                </c:pt>
                <c:pt idx="7">
                  <c:v>420</c:v>
                </c:pt>
                <c:pt idx="8">
                  <c:v>410</c:v>
                </c:pt>
                <c:pt idx="9">
                  <c:v>5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A6-42F8-A0BB-EC271D743AD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Bond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Лист1!$A$2:$A$11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75</c:v>
                </c:pt>
                <c:pt idx="1">
                  <c:v>75</c:v>
                </c:pt>
                <c:pt idx="2">
                  <c:v>85</c:v>
                </c:pt>
                <c:pt idx="3">
                  <c:v>85</c:v>
                </c:pt>
                <c:pt idx="4">
                  <c:v>90</c:v>
                </c:pt>
                <c:pt idx="5">
                  <c:v>90</c:v>
                </c:pt>
                <c:pt idx="6">
                  <c:v>85</c:v>
                </c:pt>
                <c:pt idx="7">
                  <c:v>110</c:v>
                </c:pt>
                <c:pt idx="8">
                  <c:v>115</c:v>
                </c:pt>
                <c:pt idx="9">
                  <c:v>1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9A6-42F8-A0BB-EC271D743AD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Mixed Asset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Лист1!$A$2:$A$11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Лист1!$D$2:$D$11</c:f>
              <c:numCache>
                <c:formatCode>General</c:formatCode>
                <c:ptCount val="10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50</c:v>
                </c:pt>
                <c:pt idx="8">
                  <c:v>50</c:v>
                </c:pt>
                <c:pt idx="9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9A6-42F8-A0BB-EC271D743AD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Лист1!$A$2:$A$11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Лист1!$E$2:$E$11</c:f>
              <c:numCache>
                <c:formatCode>General</c:formatCode>
                <c:ptCount val="10"/>
                <c:pt idx="0">
                  <c:v>60</c:v>
                </c:pt>
                <c:pt idx="1">
                  <c:v>50</c:v>
                </c:pt>
                <c:pt idx="2">
                  <c:v>70</c:v>
                </c:pt>
                <c:pt idx="3">
                  <c:v>60</c:v>
                </c:pt>
                <c:pt idx="4">
                  <c:v>60</c:v>
                </c:pt>
                <c:pt idx="5">
                  <c:v>60</c:v>
                </c:pt>
                <c:pt idx="6">
                  <c:v>60</c:v>
                </c:pt>
                <c:pt idx="7">
                  <c:v>40</c:v>
                </c:pt>
                <c:pt idx="8">
                  <c:v>40</c:v>
                </c:pt>
                <c:pt idx="9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9A6-42F8-A0BB-EC271D743A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6770688"/>
        <c:axId val="76814592"/>
      </c:barChart>
      <c:catAx>
        <c:axId val="76770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76814592"/>
        <c:crosses val="autoZero"/>
        <c:auto val="1"/>
        <c:lblAlgn val="ctr"/>
        <c:lblOffset val="100"/>
        <c:noMultiLvlLbl val="0"/>
      </c:catAx>
      <c:valAx>
        <c:axId val="76814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76770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sz="2200" b="1" i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ademic Activity in the field of Corporate Governance and ES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Анализ!$B$11</c:f>
              <c:strCache>
                <c:ptCount val="1"/>
                <c:pt idx="0">
                  <c:v>Journal Articles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Анализ!$C$10:$W$10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  <c:extLst/>
            </c:numRef>
          </c:cat>
          <c:val>
            <c:numRef>
              <c:f>Анализ!$C$11:$W$11</c:f>
              <c:numCache>
                <c:formatCode>#,##0</c:formatCode>
                <c:ptCount val="10"/>
                <c:pt idx="0">
                  <c:v>78</c:v>
                </c:pt>
                <c:pt idx="1">
                  <c:v>81</c:v>
                </c:pt>
                <c:pt idx="2">
                  <c:v>89</c:v>
                </c:pt>
                <c:pt idx="3">
                  <c:v>111</c:v>
                </c:pt>
                <c:pt idx="4">
                  <c:v>133</c:v>
                </c:pt>
                <c:pt idx="5">
                  <c:v>160</c:v>
                </c:pt>
                <c:pt idx="6">
                  <c:v>160</c:v>
                </c:pt>
                <c:pt idx="7">
                  <c:v>183</c:v>
                </c:pt>
                <c:pt idx="8">
                  <c:v>239</c:v>
                </c:pt>
                <c:pt idx="9">
                  <c:v>27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9E99-45D2-8A95-544142B3AB9B}"/>
            </c:ext>
          </c:extLst>
        </c:ser>
        <c:ser>
          <c:idx val="7"/>
          <c:order val="7"/>
          <c:tx>
            <c:strRef>
              <c:f>Анализ!$B$18</c:f>
              <c:strCache>
                <c:ptCount val="1"/>
                <c:pt idx="0">
                  <c:v>High Quality Articles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numRef>
              <c:f>Анализ!$C$10:$W$10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  <c:extLst/>
            </c:numRef>
          </c:cat>
          <c:val>
            <c:numRef>
              <c:f>Анализ!$C$18:$W$18</c:f>
              <c:numCache>
                <c:formatCode>General</c:formatCode>
                <c:ptCount val="10"/>
                <c:pt idx="0">
                  <c:v>18</c:v>
                </c:pt>
                <c:pt idx="1">
                  <c:v>20</c:v>
                </c:pt>
                <c:pt idx="2">
                  <c:v>21</c:v>
                </c:pt>
                <c:pt idx="3">
                  <c:v>28</c:v>
                </c:pt>
                <c:pt idx="4">
                  <c:v>35</c:v>
                </c:pt>
                <c:pt idx="5">
                  <c:v>42</c:v>
                </c:pt>
                <c:pt idx="6">
                  <c:v>55</c:v>
                </c:pt>
                <c:pt idx="7">
                  <c:v>47</c:v>
                </c:pt>
                <c:pt idx="8">
                  <c:v>73</c:v>
                </c:pt>
                <c:pt idx="9">
                  <c:v>7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9E99-45D2-8A95-544142B3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403401007"/>
        <c:axId val="1403391023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Анализ!$B$12</c15:sqref>
                        </c15:formulaRef>
                      </c:ext>
                    </c:extLst>
                    <c:strCache>
                      <c:ptCount val="1"/>
                      <c:pt idx="0">
                        <c:v>Number of Citations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Анализ!$C$10:$W$10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  <c:pt idx="9">
                        <c:v>202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Анализ!$C$12:$W$12</c15:sqref>
                        </c15:formulaRef>
                      </c:ext>
                    </c:extLst>
                    <c:numCache>
                      <c:formatCode>#,##0</c:formatCode>
                      <c:ptCount val="10"/>
                      <c:pt idx="0">
                        <c:v>5218</c:v>
                      </c:pt>
                      <c:pt idx="1">
                        <c:v>4146</c:v>
                      </c:pt>
                      <c:pt idx="2">
                        <c:v>4527</c:v>
                      </c:pt>
                      <c:pt idx="3">
                        <c:v>5673</c:v>
                      </c:pt>
                      <c:pt idx="4">
                        <c:v>5233</c:v>
                      </c:pt>
                      <c:pt idx="5">
                        <c:v>6248</c:v>
                      </c:pt>
                      <c:pt idx="6">
                        <c:v>4534</c:v>
                      </c:pt>
                      <c:pt idx="7">
                        <c:v>3614</c:v>
                      </c:pt>
                      <c:pt idx="8">
                        <c:v>2742</c:v>
                      </c:pt>
                      <c:pt idx="9">
                        <c:v>1884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9E99-45D2-8A95-544142B3AB9B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B$13</c15:sqref>
                        </c15:formulaRef>
                      </c:ext>
                    </c:extLst>
                    <c:strCache>
                      <c:ptCount val="1"/>
                      <c:pt idx="0">
                        <c:v>Mean Number of Citations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C$10:$W$10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  <c:pt idx="9">
                        <c:v>202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C$13:$W$13</c15:sqref>
                        </c15:formulaRef>
                      </c:ext>
                    </c:extLst>
                    <c:numCache>
                      <c:formatCode>#,##0.00</c:formatCode>
                      <c:ptCount val="10"/>
                      <c:pt idx="0">
                        <c:v>66.897435897435898</c:v>
                      </c:pt>
                      <c:pt idx="1">
                        <c:v>51.185185185185183</c:v>
                      </c:pt>
                      <c:pt idx="2">
                        <c:v>50.865168539325843</c:v>
                      </c:pt>
                      <c:pt idx="3">
                        <c:v>51.108108108108105</c:v>
                      </c:pt>
                      <c:pt idx="4">
                        <c:v>39.345864661654133</c:v>
                      </c:pt>
                      <c:pt idx="5">
                        <c:v>39.049999999999997</c:v>
                      </c:pt>
                      <c:pt idx="6">
                        <c:v>28.337499999999999</c:v>
                      </c:pt>
                      <c:pt idx="7">
                        <c:v>19.748633879781419</c:v>
                      </c:pt>
                      <c:pt idx="8">
                        <c:v>11.472803347280335</c:v>
                      </c:pt>
                      <c:pt idx="9">
                        <c:v>6.901098901098901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9E99-45D2-8A95-544142B3AB9B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B$15</c15:sqref>
                        </c15:formulaRef>
                      </c:ext>
                    </c:extLst>
                    <c:strCache>
                      <c:ptCount val="1"/>
                      <c:pt idx="0">
                        <c:v>Mean Journal Cite Ccore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C$10:$W$10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  <c:pt idx="9">
                        <c:v>202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C$15:$W$15</c15:sqref>
                        </c15:formulaRef>
                      </c:ext>
                    </c:extLst>
                    <c:numCache>
                      <c:formatCode>#,##0.00</c:formatCode>
                      <c:ptCount val="10"/>
                      <c:pt idx="0">
                        <c:v>4.9320512820512832</c:v>
                      </c:pt>
                      <c:pt idx="1">
                        <c:v>4.3802469135802475</c:v>
                      </c:pt>
                      <c:pt idx="2">
                        <c:v>5.2651685393258436</c:v>
                      </c:pt>
                      <c:pt idx="3">
                        <c:v>4.8873873873873936</c:v>
                      </c:pt>
                      <c:pt idx="4">
                        <c:v>5.0345864661654147</c:v>
                      </c:pt>
                      <c:pt idx="5">
                        <c:v>5.1850000000000058</c:v>
                      </c:pt>
                      <c:pt idx="6">
                        <c:v>6.4987500000000011</c:v>
                      </c:pt>
                      <c:pt idx="7">
                        <c:v>5.804918032786885</c:v>
                      </c:pt>
                      <c:pt idx="8">
                        <c:v>5.6577405857740581</c:v>
                      </c:pt>
                      <c:pt idx="9">
                        <c:v>5.962271062271058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9E99-45D2-8A95-544142B3AB9B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B$16</c15:sqref>
                        </c15:formulaRef>
                      </c:ext>
                    </c:extLst>
                    <c:strCache>
                      <c:ptCount val="1"/>
                      <c:pt idx="0">
                        <c:v>Mean SJR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C$10:$W$10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  <c:pt idx="9">
                        <c:v>202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C$16:$W$16</c15:sqref>
                        </c15:formulaRef>
                      </c:ext>
                    </c:extLst>
                    <c:numCache>
                      <c:formatCode>#,##0.00</c:formatCode>
                      <c:ptCount val="10"/>
                      <c:pt idx="0">
                        <c:v>1.222153846153847</c:v>
                      </c:pt>
                      <c:pt idx="1">
                        <c:v>0.97853086419753077</c:v>
                      </c:pt>
                      <c:pt idx="2">
                        <c:v>1.2583707865168545</c:v>
                      </c:pt>
                      <c:pt idx="3">
                        <c:v>1.2555765765765765</c:v>
                      </c:pt>
                      <c:pt idx="4">
                        <c:v>1.2951654135338344</c:v>
                      </c:pt>
                      <c:pt idx="5">
                        <c:v>1.5421625000000001</c:v>
                      </c:pt>
                      <c:pt idx="6">
                        <c:v>1.6459625000000009</c:v>
                      </c:pt>
                      <c:pt idx="7">
                        <c:v>1.3665136612021866</c:v>
                      </c:pt>
                      <c:pt idx="8">
                        <c:v>1.3610502092050214</c:v>
                      </c:pt>
                      <c:pt idx="9">
                        <c:v>1.423010989010989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9E99-45D2-8A95-544142B3AB9B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B$17</c15:sqref>
                        </c15:formulaRef>
                      </c:ext>
                    </c:extLst>
                    <c:strCache>
                      <c:ptCount val="1"/>
                      <c:pt idx="0">
                        <c:v>Mean SNIP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C$10:$W$10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2011</c:v>
                      </c:pt>
                      <c:pt idx="1">
                        <c:v>2012</c:v>
                      </c:pt>
                      <c:pt idx="2">
                        <c:v>2013</c:v>
                      </c:pt>
                      <c:pt idx="3">
                        <c:v>2014</c:v>
                      </c:pt>
                      <c:pt idx="4">
                        <c:v>2015</c:v>
                      </c:pt>
                      <c:pt idx="5">
                        <c:v>2016</c:v>
                      </c:pt>
                      <c:pt idx="6">
                        <c:v>2017</c:v>
                      </c:pt>
                      <c:pt idx="7">
                        <c:v>2018</c:v>
                      </c:pt>
                      <c:pt idx="8">
                        <c:v>2019</c:v>
                      </c:pt>
                      <c:pt idx="9">
                        <c:v>202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Анализ!$C$17:$W$17</c15:sqref>
                        </c15:formulaRef>
                      </c:ext>
                    </c:extLst>
                    <c:numCache>
                      <c:formatCode>#,##0.00</c:formatCode>
                      <c:ptCount val="10"/>
                      <c:pt idx="0">
                        <c:v>1.5882948717948722</c:v>
                      </c:pt>
                      <c:pt idx="1">
                        <c:v>1.4220740740740743</c:v>
                      </c:pt>
                      <c:pt idx="2">
                        <c:v>1.5626179775280904</c:v>
                      </c:pt>
                      <c:pt idx="3">
                        <c:v>1.4886126126126122</c:v>
                      </c:pt>
                      <c:pt idx="4">
                        <c:v>1.5863609022556384</c:v>
                      </c:pt>
                      <c:pt idx="5">
                        <c:v>1.6604875000000008</c:v>
                      </c:pt>
                      <c:pt idx="6">
                        <c:v>1.82595</c:v>
                      </c:pt>
                      <c:pt idx="7">
                        <c:v>1.7037158469945344</c:v>
                      </c:pt>
                      <c:pt idx="8">
                        <c:v>1.6972635983263602</c:v>
                      </c:pt>
                      <c:pt idx="9">
                        <c:v>1.78254945054945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9E99-45D2-8A95-544142B3AB9B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strRef>
              <c:f>Анализ!$B$14</c:f>
              <c:strCache>
                <c:ptCount val="1"/>
                <c:pt idx="0">
                  <c:v>Weighted Journal Percentile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Анализ!$C$10:$W$10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  <c:extLst/>
            </c:numRef>
          </c:cat>
          <c:val>
            <c:numRef>
              <c:f>Анализ!$C$14:$W$14</c:f>
              <c:numCache>
                <c:formatCode>#,##0.00</c:formatCode>
                <c:ptCount val="10"/>
                <c:pt idx="0">
                  <c:v>90.31123035645841</c:v>
                </c:pt>
                <c:pt idx="1">
                  <c:v>85.798118668596231</c:v>
                </c:pt>
                <c:pt idx="2">
                  <c:v>91.176275679257785</c:v>
                </c:pt>
                <c:pt idx="3">
                  <c:v>91.048651507139084</c:v>
                </c:pt>
                <c:pt idx="4">
                  <c:v>86.363271545958341</c:v>
                </c:pt>
                <c:pt idx="5">
                  <c:v>89.688380281690144</c:v>
                </c:pt>
                <c:pt idx="6">
                  <c:v>92.605205116894581</c:v>
                </c:pt>
                <c:pt idx="7">
                  <c:v>88.817653569452133</c:v>
                </c:pt>
                <c:pt idx="8">
                  <c:v>88.523705324580604</c:v>
                </c:pt>
                <c:pt idx="9">
                  <c:v>87.64490445859873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9E99-45D2-8A95-544142B3AB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34673631"/>
        <c:axId val="1534669887"/>
      </c:lineChart>
      <c:catAx>
        <c:axId val="14034010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403391023"/>
        <c:crosses val="autoZero"/>
        <c:auto val="1"/>
        <c:lblAlgn val="ctr"/>
        <c:lblOffset val="100"/>
        <c:noMultiLvlLbl val="0"/>
      </c:catAx>
      <c:valAx>
        <c:axId val="14033910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403401007"/>
        <c:crosses val="autoZero"/>
        <c:crossBetween val="between"/>
      </c:valAx>
      <c:valAx>
        <c:axId val="1534669887"/>
        <c:scaling>
          <c:orientation val="minMax"/>
        </c:scaling>
        <c:delete val="0"/>
        <c:axPos val="r"/>
        <c:numFmt formatCode="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1534673631"/>
        <c:crosses val="max"/>
        <c:crossBetween val="between"/>
      </c:valAx>
      <c:catAx>
        <c:axId val="153467363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3466988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n-US" sz="2800" b="1">
                <a:latin typeface="Times New Roman" panose="02020603050405020304" pitchFamily="18" charset="0"/>
                <a:cs typeface="Times New Roman" panose="02020603050405020304" pitchFamily="18" charset="0"/>
              </a:rPr>
              <a:t>Sample</a:t>
            </a:r>
            <a:r>
              <a:rPr lang="en-US" sz="2800" b="1" baseline="0">
                <a:latin typeface="Times New Roman" panose="02020603050405020304" pitchFamily="18" charset="0"/>
                <a:cs typeface="Times New Roman" panose="02020603050405020304" pitchFamily="18" charset="0"/>
              </a:rPr>
              <a:t> Industrial Structure by Market Capitalization, %</a:t>
            </a:r>
            <a:endParaRPr lang="en-US" sz="28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9036069187809822E-2"/>
          <c:y val="2.2167732009278452E-2"/>
          <c:w val="0.63149473709586634"/>
          <c:h val="0.91634719302022349"/>
        </c:manualLayout>
      </c:layout>
      <c:pie3DChart>
        <c:varyColors val="1"/>
        <c:ser>
          <c:idx val="1"/>
          <c:order val="0"/>
          <c:tx>
            <c:strRef>
              <c:f>'Descriptive analysis'!$U$3</c:f>
              <c:strCache>
                <c:ptCount val="1"/>
                <c:pt idx="0">
                  <c:v>Total Market Cap, %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334F-4321-B822-5A2975B95D1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334F-4321-B822-5A2975B95D1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334F-4321-B822-5A2975B95D1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334F-4321-B822-5A2975B95D1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334F-4321-B822-5A2975B95D1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334F-4321-B822-5A2975B95D1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334F-4321-B822-5A2975B95D1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334F-4321-B822-5A2975B95D16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334F-4321-B822-5A2975B95D16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334F-4321-B822-5A2975B95D16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334F-4321-B822-5A2975B95D16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7-334F-4321-B822-5A2975B95D16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9-334F-4321-B822-5A2975B95D16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B-334F-4321-B822-5A2975B95D16}"/>
              </c:ext>
            </c:extLst>
          </c:dPt>
          <c:dPt>
            <c:idx val="14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D-334F-4321-B822-5A2975B95D16}"/>
              </c:ext>
            </c:extLst>
          </c:dPt>
          <c:dPt>
            <c:idx val="15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F-334F-4321-B822-5A2975B95D16}"/>
              </c:ext>
            </c:extLst>
          </c:dPt>
          <c:dPt>
            <c:idx val="16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1-334F-4321-B822-5A2975B95D16}"/>
              </c:ext>
            </c:extLst>
          </c:dPt>
          <c:dPt>
            <c:idx val="17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3-334F-4321-B822-5A2975B95D1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500" b="1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34F-4321-B822-5A2975B95D1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500" b="1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34F-4321-B822-5A2975B95D1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500" b="1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34F-4321-B822-5A2975B95D1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500" b="1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334F-4321-B822-5A2975B95D16}"/>
                </c:ext>
              </c:extLst>
            </c:dLbl>
            <c:dLbl>
              <c:idx val="4"/>
              <c:layout>
                <c:manualLayout>
                  <c:x val="6.5105896416413289E-2"/>
                  <c:y val="5.883555915905802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500" b="1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34F-4321-B822-5A2975B95D16}"/>
                </c:ext>
              </c:extLst>
            </c:dLbl>
            <c:dLbl>
              <c:idx val="5"/>
              <c:layout>
                <c:manualLayout>
                  <c:x val="7.0509973382040111E-2"/>
                  <c:y val="1.420040162531139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500" b="1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34F-4321-B822-5A2975B95D16}"/>
                </c:ext>
              </c:extLst>
            </c:dLbl>
            <c:dLbl>
              <c:idx val="6"/>
              <c:layout>
                <c:manualLayout>
                  <c:x val="6.0583664665679167E-2"/>
                  <c:y val="3.275279567541516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500" b="1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34F-4321-B822-5A2975B95D16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34F-4321-B822-5A2975B95D16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334F-4321-B822-5A2975B95D16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334F-4321-B822-5A2975B95D16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334F-4321-B822-5A2975B95D16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334F-4321-B822-5A2975B95D16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334F-4321-B822-5A2975B95D16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334F-4321-B822-5A2975B95D16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334F-4321-B822-5A2975B95D16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334F-4321-B822-5A2975B95D16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334F-4321-B822-5A2975B95D16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334F-4321-B822-5A2975B95D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Descriptive analysis'!$S$4:$S$21</c:f>
              <c:strCache>
                <c:ptCount val="18"/>
                <c:pt idx="0">
                  <c:v>Oil &amp; Gas</c:v>
                </c:pt>
                <c:pt idx="1">
                  <c:v>Internet Services</c:v>
                </c:pt>
                <c:pt idx="2">
                  <c:v>Metallurgy</c:v>
                </c:pt>
                <c:pt idx="3">
                  <c:v>Mining</c:v>
                </c:pt>
                <c:pt idx="4">
                  <c:v>Retail</c:v>
                </c:pt>
                <c:pt idx="5">
                  <c:v>Telecommunications</c:v>
                </c:pt>
                <c:pt idx="6">
                  <c:v>Power Utilities</c:v>
                </c:pt>
                <c:pt idx="7">
                  <c:v>Chemical Industry</c:v>
                </c:pt>
                <c:pt idx="8">
                  <c:v>Other</c:v>
                </c:pt>
                <c:pt idx="9">
                  <c:v>Construction</c:v>
                </c:pt>
                <c:pt idx="10">
                  <c:v>Transport &amp; Infrastructure</c:v>
                </c:pt>
                <c:pt idx="11">
                  <c:v>Food Industry</c:v>
                </c:pt>
                <c:pt idx="12">
                  <c:v>Ferlilizers Industry</c:v>
                </c:pt>
                <c:pt idx="13">
                  <c:v>Health Services</c:v>
                </c:pt>
                <c:pt idx="14">
                  <c:v>Shipbuilding</c:v>
                </c:pt>
                <c:pt idx="15">
                  <c:v>Pharmaceuticals</c:v>
                </c:pt>
                <c:pt idx="16">
                  <c:v>Transport and Industrial Equipment Industry</c:v>
                </c:pt>
                <c:pt idx="17">
                  <c:v>Textiles, Clothing, Footwear</c:v>
                </c:pt>
              </c:strCache>
            </c:strRef>
          </c:cat>
          <c:val>
            <c:numRef>
              <c:f>'Descriptive analysis'!$U$4:$U$21</c:f>
              <c:numCache>
                <c:formatCode>0.0%</c:formatCode>
                <c:ptCount val="18"/>
                <c:pt idx="0">
                  <c:v>0.49551349400720651</c:v>
                </c:pt>
                <c:pt idx="1">
                  <c:v>3.9473031808169384E-2</c:v>
                </c:pt>
                <c:pt idx="2">
                  <c:v>0.18199332728208309</c:v>
                </c:pt>
                <c:pt idx="3">
                  <c:v>5.2370390867765113E-2</c:v>
                </c:pt>
                <c:pt idx="4">
                  <c:v>6.0045723288300906E-2</c:v>
                </c:pt>
                <c:pt idx="5">
                  <c:v>3.6147708385226393E-2</c:v>
                </c:pt>
                <c:pt idx="6">
                  <c:v>6.2297898104976913E-2</c:v>
                </c:pt>
                <c:pt idx="7">
                  <c:v>2.0905909992591874E-2</c:v>
                </c:pt>
                <c:pt idx="8">
                  <c:v>8.0735649724283341E-3</c:v>
                </c:pt>
                <c:pt idx="9">
                  <c:v>1.3511781765805676E-2</c:v>
                </c:pt>
                <c:pt idx="10">
                  <c:v>1.3775169351781358E-2</c:v>
                </c:pt>
                <c:pt idx="11">
                  <c:v>3.8081890728990497E-3</c:v>
                </c:pt>
                <c:pt idx="12">
                  <c:v>6.0630145626993752E-3</c:v>
                </c:pt>
                <c:pt idx="13">
                  <c:v>1.3605766277673961E-3</c:v>
                </c:pt>
                <c:pt idx="14">
                  <c:v>5.7633566640562131E-4</c:v>
                </c:pt>
                <c:pt idx="15">
                  <c:v>9.7511281850640391E-4</c:v>
                </c:pt>
                <c:pt idx="16">
                  <c:v>2.9550965576513773E-3</c:v>
                </c:pt>
                <c:pt idx="17">
                  <c:v>1.536748677371924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334F-4321-B822-5A2975B95D1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866210440972361"/>
          <c:y val="7.8548742013308942E-2"/>
          <c:w val="0.33086669140179564"/>
          <c:h val="0.909557678916509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5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Included in S&amp;P ESG Rating</c:v>
                </c:pt>
              </c:strCache>
            </c:strRef>
          </c:tx>
          <c:spPr>
            <a:solidFill>
              <a:srgbClr val="64C8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500" b="1" i="0" u="none" strike="noStrike" kern="1200" baseline="0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% of Observations</c:v>
                </c:pt>
                <c:pt idx="1">
                  <c:v>% of Total Assets</c:v>
                </c:pt>
                <c:pt idx="2">
                  <c:v>% of Market Capitalization</c:v>
                </c:pt>
              </c:strCache>
            </c:strRef>
          </c:cat>
          <c:val>
            <c:numRef>
              <c:f>Лист1!$B$2:$B$4</c:f>
              <c:numCache>
                <c:formatCode>0.0%</c:formatCode>
                <c:ptCount val="3"/>
                <c:pt idx="0">
                  <c:v>0.28299999999999997</c:v>
                </c:pt>
                <c:pt idx="1">
                  <c:v>0.45900000000000002</c:v>
                </c:pt>
                <c:pt idx="2">
                  <c:v>0.536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7D-40D5-8126-95F0BFCC49B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Not included in S&amp;P ESG Rating</c:v>
                </c:pt>
              </c:strCache>
            </c:strRef>
          </c:tx>
          <c:spPr>
            <a:solidFill>
              <a:srgbClr val="FF503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500" b="1" i="0" u="none" strike="noStrike" kern="1200" baseline="0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% of Observations</c:v>
                </c:pt>
                <c:pt idx="1">
                  <c:v>% of Total Assets</c:v>
                </c:pt>
                <c:pt idx="2">
                  <c:v>% of Market Capitalization</c:v>
                </c:pt>
              </c:strCache>
            </c:strRef>
          </c:cat>
          <c:val>
            <c:numRef>
              <c:f>Лист1!$C$2:$C$4</c:f>
              <c:numCache>
                <c:formatCode>0.0%</c:formatCode>
                <c:ptCount val="3"/>
                <c:pt idx="0">
                  <c:v>0.71700000000000008</c:v>
                </c:pt>
                <c:pt idx="1">
                  <c:v>0.54099999999999993</c:v>
                </c:pt>
                <c:pt idx="2">
                  <c:v>0.463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7D-40D5-8126-95F0BFCC49B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045873184"/>
        <c:axId val="97630352"/>
      </c:barChart>
      <c:catAx>
        <c:axId val="20458731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5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97630352"/>
        <c:crosses val="autoZero"/>
        <c:auto val="1"/>
        <c:lblAlgn val="ctr"/>
        <c:lblOffset val="100"/>
        <c:noMultiLvlLbl val="0"/>
      </c:catAx>
      <c:valAx>
        <c:axId val="97630352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5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2045873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5788529011193184E-2"/>
          <c:y val="8.6197037604645414E-3"/>
          <c:w val="0.98421147098880679"/>
          <c:h val="0.109593085504407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161729783777002E-2"/>
          <c:y val="3.7156487195857277E-2"/>
          <c:w val="0.90311943149963403"/>
          <c:h val="0.81467612567405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H$44</c:f>
              <c:strCache>
                <c:ptCount val="1"/>
                <c:pt idx="0">
                  <c:v>With ESG</c:v>
                </c:pt>
              </c:strCache>
            </c:strRef>
          </c:tx>
          <c:spPr>
            <a:solidFill>
              <a:srgbClr val="64C850"/>
            </a:solidFill>
          </c:spPr>
          <c:invertIfNegative val="0"/>
          <c:cat>
            <c:strRef>
              <c:f>Лист1!$G$45:$G$47</c:f>
              <c:strCache>
                <c:ptCount val="3"/>
                <c:pt idx="0">
                  <c:v>CEO Age</c:v>
                </c:pt>
                <c:pt idx="1">
                  <c:v>CEO Tenure</c:v>
                </c:pt>
                <c:pt idx="2">
                  <c:v>CEO Corp. Experience</c:v>
                </c:pt>
              </c:strCache>
            </c:strRef>
          </c:cat>
          <c:val>
            <c:numRef>
              <c:f>Лист1!$H$45:$H$47</c:f>
              <c:numCache>
                <c:formatCode>General</c:formatCode>
                <c:ptCount val="3"/>
                <c:pt idx="0">
                  <c:v>51.87</c:v>
                </c:pt>
                <c:pt idx="1">
                  <c:v>8.01</c:v>
                </c:pt>
                <c:pt idx="2">
                  <c:v>3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05-4854-9F95-279FD63687C1}"/>
            </c:ext>
          </c:extLst>
        </c:ser>
        <c:ser>
          <c:idx val="1"/>
          <c:order val="1"/>
          <c:tx>
            <c:strRef>
              <c:f>Лист1!$I$44</c:f>
              <c:strCache>
                <c:ptCount val="1"/>
                <c:pt idx="0">
                  <c:v>Without ESG</c:v>
                </c:pt>
              </c:strCache>
            </c:strRef>
          </c:tx>
          <c:spPr>
            <a:solidFill>
              <a:srgbClr val="FF503C"/>
            </a:solidFill>
          </c:spPr>
          <c:invertIfNegative val="0"/>
          <c:cat>
            <c:strRef>
              <c:f>Лист1!$G$45:$G$47</c:f>
              <c:strCache>
                <c:ptCount val="3"/>
                <c:pt idx="0">
                  <c:v>CEO Age</c:v>
                </c:pt>
                <c:pt idx="1">
                  <c:v>CEO Tenure</c:v>
                </c:pt>
                <c:pt idx="2">
                  <c:v>CEO Corp. Experience</c:v>
                </c:pt>
              </c:strCache>
            </c:strRef>
          </c:cat>
          <c:val>
            <c:numRef>
              <c:f>Лист1!$I$45:$I$47</c:f>
              <c:numCache>
                <c:formatCode>General</c:formatCode>
                <c:ptCount val="3"/>
                <c:pt idx="0">
                  <c:v>48.28</c:v>
                </c:pt>
                <c:pt idx="1">
                  <c:v>5.49</c:v>
                </c:pt>
                <c:pt idx="2">
                  <c:v>4.76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05-4854-9F95-279FD63687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687296"/>
        <c:axId val="103688832"/>
      </c:barChart>
      <c:catAx>
        <c:axId val="1036872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2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3688832"/>
        <c:crosses val="autoZero"/>
        <c:auto val="1"/>
        <c:lblAlgn val="ctr"/>
        <c:lblOffset val="100"/>
        <c:noMultiLvlLbl val="0"/>
      </c:catAx>
      <c:valAx>
        <c:axId val="10368883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3687296"/>
        <c:crosses val="autoZero"/>
        <c:crossBetween val="between"/>
      </c:valAx>
    </c:plotArea>
    <c:legend>
      <c:legendPos val="t"/>
      <c:overlay val="0"/>
      <c:txPr>
        <a:bodyPr/>
        <a:lstStyle/>
        <a:p>
          <a:pPr>
            <a:defRPr sz="25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07696697879279E-2"/>
          <c:y val="3.4050526965863012E-2"/>
          <c:w val="0.89658340399801351"/>
          <c:h val="0.762560964709132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H$51</c:f>
              <c:strCache>
                <c:ptCount val="1"/>
                <c:pt idx="0">
                  <c:v>With ESG</c:v>
                </c:pt>
              </c:strCache>
            </c:strRef>
          </c:tx>
          <c:spPr>
            <a:solidFill>
              <a:srgbClr val="64C850"/>
            </a:solidFill>
          </c:spPr>
          <c:invertIfNegative val="0"/>
          <c:cat>
            <c:strRef>
              <c:f>Лист1!$G$52:$G$56</c:f>
              <c:strCache>
                <c:ptCount val="5"/>
                <c:pt idx="0">
                  <c:v>Tech Education</c:v>
                </c:pt>
                <c:pt idx="1">
                  <c:v>Economic &amp; Financial Education</c:v>
                </c:pt>
                <c:pt idx="2">
                  <c:v>Management Education</c:v>
                </c:pt>
                <c:pt idx="3">
                  <c:v>Civil Service Experience</c:v>
                </c:pt>
                <c:pt idx="4">
                  <c:v>Board Memvership</c:v>
                </c:pt>
              </c:strCache>
            </c:strRef>
          </c:cat>
          <c:val>
            <c:numRef>
              <c:f>Лист1!$H$52:$H$56</c:f>
              <c:numCache>
                <c:formatCode>0%</c:formatCode>
                <c:ptCount val="5"/>
                <c:pt idx="0">
                  <c:v>0.30000000000000032</c:v>
                </c:pt>
                <c:pt idx="1">
                  <c:v>0.5</c:v>
                </c:pt>
                <c:pt idx="2">
                  <c:v>0.05</c:v>
                </c:pt>
                <c:pt idx="3">
                  <c:v>0.42000000000000032</c:v>
                </c:pt>
                <c:pt idx="4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31-4253-A5D9-0E55B647C1E1}"/>
            </c:ext>
          </c:extLst>
        </c:ser>
        <c:ser>
          <c:idx val="1"/>
          <c:order val="1"/>
          <c:tx>
            <c:strRef>
              <c:f>Лист1!$I$51</c:f>
              <c:strCache>
                <c:ptCount val="1"/>
                <c:pt idx="0">
                  <c:v>Without ESG</c:v>
                </c:pt>
              </c:strCache>
            </c:strRef>
          </c:tx>
          <c:spPr>
            <a:solidFill>
              <a:srgbClr val="FF503C"/>
            </a:solidFill>
          </c:spPr>
          <c:invertIfNegative val="0"/>
          <c:cat>
            <c:strRef>
              <c:f>Лист1!$G$52:$G$56</c:f>
              <c:strCache>
                <c:ptCount val="5"/>
                <c:pt idx="0">
                  <c:v>Tech Education</c:v>
                </c:pt>
                <c:pt idx="1">
                  <c:v>Economic &amp; Financial Education</c:v>
                </c:pt>
                <c:pt idx="2">
                  <c:v>Management Education</c:v>
                </c:pt>
                <c:pt idx="3">
                  <c:v>Civil Service Experience</c:v>
                </c:pt>
                <c:pt idx="4">
                  <c:v>Board Memvership</c:v>
                </c:pt>
              </c:strCache>
            </c:strRef>
          </c:cat>
          <c:val>
            <c:numRef>
              <c:f>Лист1!$I$52:$I$56</c:f>
              <c:numCache>
                <c:formatCode>0%</c:formatCode>
                <c:ptCount val="5"/>
                <c:pt idx="0">
                  <c:v>0.45</c:v>
                </c:pt>
                <c:pt idx="1">
                  <c:v>0.30000000000000032</c:v>
                </c:pt>
                <c:pt idx="2">
                  <c:v>0.11</c:v>
                </c:pt>
                <c:pt idx="3">
                  <c:v>0.26</c:v>
                </c:pt>
                <c:pt idx="4">
                  <c:v>0.77000000000000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31-4253-A5D9-0E55B647C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714176"/>
        <c:axId val="103715968"/>
      </c:barChart>
      <c:catAx>
        <c:axId val="1037141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2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3715968"/>
        <c:crosses val="autoZero"/>
        <c:auto val="1"/>
        <c:lblAlgn val="ctr"/>
        <c:lblOffset val="100"/>
        <c:noMultiLvlLbl val="0"/>
      </c:catAx>
      <c:valAx>
        <c:axId val="103715968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3714176"/>
        <c:crosses val="autoZero"/>
        <c:crossBetween val="between"/>
      </c:valAx>
    </c:plotArea>
    <c:legend>
      <c:legendPos val="t"/>
      <c:overlay val="0"/>
      <c:txPr>
        <a:bodyPr/>
        <a:lstStyle/>
        <a:p>
          <a:pPr>
            <a:defRPr sz="25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07745859143657E-2"/>
          <c:y val="4.0176508330492106E-2"/>
          <c:w val="0.9019005957355265"/>
          <c:h val="0.794879093938624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H$8</c:f>
              <c:strCache>
                <c:ptCount val="1"/>
                <c:pt idx="0">
                  <c:v>With ESG</c:v>
                </c:pt>
              </c:strCache>
            </c:strRef>
          </c:tx>
          <c:spPr>
            <a:solidFill>
              <a:srgbClr val="64C850"/>
            </a:solidFill>
          </c:spPr>
          <c:invertIfNegative val="0"/>
          <c:cat>
            <c:strRef>
              <c:f>Лист1!$G$9:$G$12</c:f>
              <c:strCache>
                <c:ptCount val="4"/>
                <c:pt idx="0">
                  <c:v>Board Size</c:v>
                </c:pt>
                <c:pt idx="1">
                  <c:v>Number of Independents</c:v>
                </c:pt>
                <c:pt idx="2">
                  <c:v>Number of Directors with Fin. Exp.</c:v>
                </c:pt>
                <c:pt idx="3">
                  <c:v>Number of Expatriates</c:v>
                </c:pt>
              </c:strCache>
            </c:strRef>
          </c:cat>
          <c:val>
            <c:numRef>
              <c:f>Лист1!$H$9:$H$12</c:f>
              <c:numCache>
                <c:formatCode>General</c:formatCode>
                <c:ptCount val="4"/>
                <c:pt idx="0">
                  <c:v>10.48</c:v>
                </c:pt>
                <c:pt idx="1">
                  <c:v>3.72</c:v>
                </c:pt>
                <c:pt idx="2">
                  <c:v>4.1099999999999985</c:v>
                </c:pt>
                <c:pt idx="3">
                  <c:v>2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64-4E77-959D-ECCDD4DEE18F}"/>
            </c:ext>
          </c:extLst>
        </c:ser>
        <c:ser>
          <c:idx val="1"/>
          <c:order val="1"/>
          <c:tx>
            <c:strRef>
              <c:f>Лист1!$I$8</c:f>
              <c:strCache>
                <c:ptCount val="1"/>
                <c:pt idx="0">
                  <c:v>Without ESG</c:v>
                </c:pt>
              </c:strCache>
            </c:strRef>
          </c:tx>
          <c:spPr>
            <a:solidFill>
              <a:srgbClr val="FF503C"/>
            </a:solidFill>
          </c:spPr>
          <c:invertIfNegative val="0"/>
          <c:cat>
            <c:strRef>
              <c:f>Лист1!$G$9:$G$12</c:f>
              <c:strCache>
                <c:ptCount val="4"/>
                <c:pt idx="0">
                  <c:v>Board Size</c:v>
                </c:pt>
                <c:pt idx="1">
                  <c:v>Number of Independents</c:v>
                </c:pt>
                <c:pt idx="2">
                  <c:v>Number of Directors with Fin. Exp.</c:v>
                </c:pt>
                <c:pt idx="3">
                  <c:v>Number of Expatriates</c:v>
                </c:pt>
              </c:strCache>
            </c:strRef>
          </c:cat>
          <c:val>
            <c:numRef>
              <c:f>Лист1!$I$9:$I$12</c:f>
              <c:numCache>
                <c:formatCode>General</c:formatCode>
                <c:ptCount val="4"/>
                <c:pt idx="0">
                  <c:v>9.91</c:v>
                </c:pt>
                <c:pt idx="1">
                  <c:v>2.3199999999999967</c:v>
                </c:pt>
                <c:pt idx="2">
                  <c:v>3.94</c:v>
                </c:pt>
                <c:pt idx="3">
                  <c:v>1.6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64-4E77-959D-ECCDD4DEE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417728"/>
        <c:axId val="103419264"/>
      </c:barChart>
      <c:catAx>
        <c:axId val="1034177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2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3419264"/>
        <c:crosses val="autoZero"/>
        <c:auto val="1"/>
        <c:lblAlgn val="ctr"/>
        <c:lblOffset val="100"/>
        <c:noMultiLvlLbl val="0"/>
      </c:catAx>
      <c:valAx>
        <c:axId val="10341926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341772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810502878282589E-2"/>
          <c:y val="4.8104515434829062E-2"/>
          <c:w val="0.914187901400217"/>
          <c:h val="0.792950988423443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H$16</c:f>
              <c:strCache>
                <c:ptCount val="1"/>
                <c:pt idx="0">
                  <c:v>With ESG</c:v>
                </c:pt>
              </c:strCache>
            </c:strRef>
          </c:tx>
          <c:spPr>
            <a:solidFill>
              <a:srgbClr val="64C850"/>
            </a:solidFill>
          </c:spPr>
          <c:invertIfNegative val="0"/>
          <c:cat>
            <c:strRef>
              <c:f>Лист1!$G$17:$G$18</c:f>
              <c:strCache>
                <c:ptCount val="2"/>
                <c:pt idx="0">
                  <c:v>Strategy Committee</c:v>
                </c:pt>
                <c:pt idx="1">
                  <c:v>ESG Committee</c:v>
                </c:pt>
              </c:strCache>
            </c:strRef>
          </c:cat>
          <c:val>
            <c:numRef>
              <c:f>Лист1!$H$17:$H$18</c:f>
              <c:numCache>
                <c:formatCode>0%</c:formatCode>
                <c:ptCount val="2"/>
                <c:pt idx="0">
                  <c:v>0.750000000000001</c:v>
                </c:pt>
                <c:pt idx="1">
                  <c:v>0.21000000000000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2D-4D82-940F-4B257882B91D}"/>
            </c:ext>
          </c:extLst>
        </c:ser>
        <c:ser>
          <c:idx val="1"/>
          <c:order val="1"/>
          <c:tx>
            <c:strRef>
              <c:f>Лист1!$I$16</c:f>
              <c:strCache>
                <c:ptCount val="1"/>
                <c:pt idx="0">
                  <c:v>Without ESG</c:v>
                </c:pt>
              </c:strCache>
            </c:strRef>
          </c:tx>
          <c:spPr>
            <a:solidFill>
              <a:srgbClr val="FF503C"/>
            </a:solidFill>
          </c:spPr>
          <c:invertIfNegative val="0"/>
          <c:cat>
            <c:strRef>
              <c:f>Лист1!$G$17:$G$18</c:f>
              <c:strCache>
                <c:ptCount val="2"/>
                <c:pt idx="0">
                  <c:v>Strategy Committee</c:v>
                </c:pt>
                <c:pt idx="1">
                  <c:v>ESG Committee</c:v>
                </c:pt>
              </c:strCache>
            </c:strRef>
          </c:cat>
          <c:val>
            <c:numRef>
              <c:f>Лист1!$I$17:$I$18</c:f>
              <c:numCache>
                <c:formatCode>0%</c:formatCode>
                <c:ptCount val="2"/>
                <c:pt idx="0">
                  <c:v>0.630000000000001</c:v>
                </c:pt>
                <c:pt idx="1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22D-4D82-940F-4B257882B9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3452672"/>
        <c:axId val="103454208"/>
      </c:barChart>
      <c:catAx>
        <c:axId val="1034526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2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3454208"/>
        <c:crosses val="autoZero"/>
        <c:auto val="1"/>
        <c:lblAlgn val="ctr"/>
        <c:lblOffset val="100"/>
        <c:noMultiLvlLbl val="0"/>
      </c:catAx>
      <c:valAx>
        <c:axId val="103454208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20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345267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9" name="Shape 49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98052276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5994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146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626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45805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75255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30894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30894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8246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"/>
          <p:cNvSpPr/>
          <p:nvPr/>
        </p:nvSpPr>
        <p:spPr>
          <a:xfrm>
            <a:off x="5230254" y="-37339"/>
            <a:ext cx="19217708" cy="13716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71437" tIns="71437" rIns="71437" bIns="71437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–Иван Арсентьев"/>
          <p:cNvSpPr txBox="1">
            <a:spLocks noGrp="1"/>
          </p:cNvSpPr>
          <p:nvPr>
            <p:ph type="body" sz="quarter" idx="13"/>
          </p:nvPr>
        </p:nvSpPr>
        <p:spPr>
          <a:xfrm>
            <a:off x="4833937" y="8947546"/>
            <a:ext cx="14716126" cy="66079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2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–Иван Арсентьев</a:t>
            </a:r>
          </a:p>
        </p:txBody>
      </p:sp>
      <p:sp>
        <p:nvSpPr>
          <p:cNvPr id="41" name="«Место ввода цитаты»."/>
          <p:cNvSpPr txBox="1">
            <a:spLocks noGrp="1"/>
          </p:cNvSpPr>
          <p:nvPr>
            <p:ph type="body" sz="quarter" idx="14"/>
          </p:nvPr>
        </p:nvSpPr>
        <p:spPr>
          <a:xfrm>
            <a:off x="4833937" y="6000353"/>
            <a:ext cx="14716126" cy="96520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5200"/>
            </a:lvl1pPr>
          </a:lstStyle>
          <a:p>
            <a:r>
              <a:t>«Место ввода цитаты».</a:t>
            </a:r>
          </a:p>
        </p:txBody>
      </p:sp>
      <p:sp>
        <p:nvSpPr>
          <p:cNvPr id="4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Изображение"/>
          <p:cNvSpPr>
            <a:spLocks noGrp="1"/>
          </p:cNvSpPr>
          <p:nvPr>
            <p:ph type="pic" idx="13"/>
          </p:nvPr>
        </p:nvSpPr>
        <p:spPr>
          <a:xfrm>
            <a:off x="3048000" y="0"/>
            <a:ext cx="18288000" cy="13716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5307210" y="892968"/>
            <a:ext cx="13751720" cy="832247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833937" y="9447609"/>
            <a:ext cx="14716126" cy="2000251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833937" y="11519296"/>
            <a:ext cx="14716126" cy="1589486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/>
            </a:lvl1pPr>
            <a:lvl2pPr marL="0" indent="228600" algn="ctr">
              <a:spcBef>
                <a:spcPts val="0"/>
              </a:spcBef>
              <a:buSzTx/>
              <a:buNone/>
              <a:defRPr sz="4400"/>
            </a:lvl2pPr>
            <a:lvl3pPr marL="0" indent="457200" algn="ctr">
              <a:spcBef>
                <a:spcPts val="0"/>
              </a:spcBef>
              <a:buSzTx/>
              <a:buNone/>
              <a:defRPr sz="4400"/>
            </a:lvl3pPr>
            <a:lvl4pPr marL="0" indent="685800" algn="ctr">
              <a:spcBef>
                <a:spcPts val="0"/>
              </a:spcBef>
              <a:buSzTx/>
              <a:buNone/>
              <a:defRPr sz="4400"/>
            </a:lvl4pPr>
            <a:lvl5pPr marL="0" indent="914400" algn="ctr">
              <a:spcBef>
                <a:spcPts val="0"/>
              </a:spcBef>
              <a:buSzTx/>
              <a:buNone/>
              <a:defRPr sz="4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35814" y="13001625"/>
            <a:ext cx="494513" cy="51117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12495609" y="892968"/>
            <a:ext cx="7500938" cy="1157287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387453" y="892968"/>
            <a:ext cx="7500938" cy="5607845"/>
          </a:xfrm>
          <a:prstGeom prst="rect">
            <a:avLst/>
          </a:prstGeom>
        </p:spPr>
        <p:txBody>
          <a:bodyPr anchor="b"/>
          <a:lstStyle>
            <a:lvl1pPr>
              <a:defRPr sz="8400"/>
            </a:lvl1pPr>
          </a:lstStyle>
          <a:p>
            <a:r>
              <a:t>Текст заголовка</a:t>
            </a:r>
          </a:p>
        </p:txBody>
      </p:sp>
      <p:sp>
        <p:nvSpPr>
          <p:cNvPr id="1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387453" y="6697265"/>
            <a:ext cx="7500938" cy="576857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/>
            </a:lvl1pPr>
            <a:lvl2pPr marL="0" indent="228600" algn="ctr">
              <a:spcBef>
                <a:spcPts val="0"/>
              </a:spcBef>
              <a:buSzTx/>
              <a:buNone/>
              <a:defRPr sz="4400"/>
            </a:lvl2pPr>
            <a:lvl3pPr marL="0" indent="457200" algn="ctr">
              <a:spcBef>
                <a:spcPts val="0"/>
              </a:spcBef>
              <a:buSzTx/>
              <a:buNone/>
              <a:defRPr sz="4400"/>
            </a:lvl3pPr>
            <a:lvl4pPr marL="0" indent="685800" algn="ctr">
              <a:spcBef>
                <a:spcPts val="0"/>
              </a:spcBef>
              <a:buSzTx/>
              <a:buNone/>
              <a:defRPr sz="4400"/>
            </a:lvl4pPr>
            <a:lvl5pPr marL="0" indent="914400" algn="ctr">
              <a:spcBef>
                <a:spcPts val="0"/>
              </a:spcBef>
              <a:buSzTx/>
              <a:buNone/>
              <a:defRPr sz="4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4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12495609" y="3661171"/>
            <a:ext cx="7500938" cy="8840392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387453" y="3661171"/>
            <a:ext cx="7500938" cy="8840392"/>
          </a:xfrm>
          <a:prstGeom prst="rect">
            <a:avLst/>
          </a:prstGeom>
        </p:spPr>
        <p:txBody>
          <a:bodyPr/>
          <a:lstStyle>
            <a:lvl1pPr marL="465364" indent="-465364">
              <a:spcBef>
                <a:spcPts val="4500"/>
              </a:spcBef>
              <a:defRPr sz="3800"/>
            </a:lvl1pPr>
            <a:lvl2pPr marL="808264" indent="-465364">
              <a:spcBef>
                <a:spcPts val="4500"/>
              </a:spcBef>
              <a:defRPr sz="3800"/>
            </a:lvl2pPr>
            <a:lvl3pPr marL="1151164" indent="-465364">
              <a:spcBef>
                <a:spcPts val="4500"/>
              </a:spcBef>
              <a:defRPr sz="3800"/>
            </a:lvl3pPr>
            <a:lvl4pPr marL="1494064" indent="-465364">
              <a:spcBef>
                <a:spcPts val="4500"/>
              </a:spcBef>
              <a:defRPr sz="3800"/>
            </a:lvl4pPr>
            <a:lvl5pPr marL="1836964" indent="-465364">
              <a:spcBef>
                <a:spcPts val="4500"/>
              </a:spcBef>
              <a:defRPr sz="3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387453" y="1785937"/>
            <a:ext cx="15609094" cy="10144126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12495609" y="7161609"/>
            <a:ext cx="7500938" cy="530423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6" name="Изображение"/>
          <p:cNvSpPr>
            <a:spLocks noGrp="1"/>
          </p:cNvSpPr>
          <p:nvPr>
            <p:ph type="pic" sz="quarter" idx="14"/>
          </p:nvPr>
        </p:nvSpPr>
        <p:spPr>
          <a:xfrm>
            <a:off x="12504353" y="1250156"/>
            <a:ext cx="7500939" cy="530423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7" name="Изображение"/>
          <p:cNvSpPr>
            <a:spLocks noGrp="1"/>
          </p:cNvSpPr>
          <p:nvPr>
            <p:ph type="pic" sz="half" idx="15"/>
          </p:nvPr>
        </p:nvSpPr>
        <p:spPr>
          <a:xfrm>
            <a:off x="4387453" y="1250156"/>
            <a:ext cx="7500938" cy="1121568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39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7798FF5-2DE3-AA48-A1BD-B0994EF7F0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49796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9" name="think-cell Slide" r:id="rId16" imgW="7761960" imgH="10047960" progId="">
                  <p:embed/>
                </p:oleObj>
              </mc:Choice>
              <mc:Fallback>
                <p:oleObj name="think-cell Slide" r:id="rId16" imgW="7761960" imgH="10047960" progId="">
                  <p:embed/>
                  <p:pic>
                    <p:nvPicPr>
                      <p:cNvPr id="0" name="Picture 2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387453" y="625078"/>
            <a:ext cx="15609094" cy="30360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1437" tIns="71437" rIns="71437" bIns="71437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387453" y="3661171"/>
            <a:ext cx="15609094" cy="88403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1437" tIns="71437" rIns="71437" bIns="71437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35814" y="13010554"/>
            <a:ext cx="494513" cy="511176"/>
          </a:xfrm>
          <a:prstGeom prst="rect">
            <a:avLst/>
          </a:prstGeom>
          <a:ln w="12700">
            <a:miter lim="400000"/>
          </a:ln>
        </p:spPr>
        <p:txBody>
          <a:bodyPr wrap="none" lIns="71437" tIns="71437" rIns="71437" bIns="71437">
            <a:spAutoFit/>
          </a:bodyPr>
          <a:lstStyle>
            <a:lvl1pPr>
              <a:defRPr sz="24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med"/>
  <p:txStyles>
    <p:titleStyle>
      <a:lvl1pPr marL="0" marR="0" indent="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1pPr>
      <a:lvl2pPr marL="0" marR="0" indent="2286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2pPr>
      <a:lvl3pPr marL="0" marR="0" indent="4572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3pPr>
      <a:lvl4pPr marL="0" marR="0" indent="6858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4pPr>
      <a:lvl5pPr marL="0" marR="0" indent="9144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5pPr>
      <a:lvl6pPr marL="0" marR="0" indent="11430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6pPr>
      <a:lvl7pPr marL="0" marR="0" indent="13716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7pPr>
      <a:lvl8pPr marL="0" marR="0" indent="16002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8pPr>
      <a:lvl9pPr marL="0" marR="0" indent="18288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9pPr>
    </p:titleStyle>
    <p:bodyStyle>
      <a:lvl1pPr marL="617361" marR="0" indent="-617361" algn="l" defTabSz="821531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0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1pPr>
      <a:lvl2pPr marL="1061861" marR="0" indent="-617361" algn="l" defTabSz="821531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0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2pPr>
      <a:lvl3pPr marL="1506361" marR="0" indent="-617361" algn="l" defTabSz="821531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0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3pPr>
      <a:lvl4pPr marL="1950861" marR="0" indent="-617361" algn="l" defTabSz="821531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0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4pPr>
      <a:lvl5pPr marL="2395361" marR="0" indent="-617361" algn="l" defTabSz="821531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0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5pPr>
      <a:lvl6pPr marL="2839861" marR="0" indent="-617361" algn="l" defTabSz="821531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0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6pPr>
      <a:lvl7pPr marL="3284361" marR="0" indent="-617361" algn="l" defTabSz="821531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0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7pPr>
      <a:lvl8pPr marL="3728861" marR="0" indent="-617361" algn="l" defTabSz="821531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0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8pPr>
      <a:lvl9pPr marL="4173361" marR="0" indent="-617361" algn="l" defTabSz="821531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0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Light"/>
        </a:defRPr>
      </a:lvl9pPr>
    </p:bodyStyle>
    <p:otherStyle>
      <a:lvl1pPr marL="0" marR="0" indent="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8215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s.imf.org/2019/10/10/connecting-the-dots-between-sustainable-finance-and-financial-stability/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scopus.com/home.uri" TargetMode="Externa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Линия"/>
          <p:cNvSpPr/>
          <p:nvPr/>
        </p:nvSpPr>
        <p:spPr>
          <a:xfrm flipV="1">
            <a:off x="10370343" y="1604166"/>
            <a:ext cx="1" cy="2777349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71437" tIns="71437" rIns="71437" bIns="71437" anchor="ctr"/>
          <a:lstStyle/>
          <a:p>
            <a:pPr>
              <a:defRPr sz="3200"/>
            </a:pPr>
            <a:endParaRPr/>
          </a:p>
        </p:txBody>
      </p:sp>
      <p:sp>
        <p:nvSpPr>
          <p:cNvPr id="52" name="Очень крутой…"/>
          <p:cNvSpPr txBox="1"/>
          <p:nvPr/>
        </p:nvSpPr>
        <p:spPr>
          <a:xfrm>
            <a:off x="5873262" y="2394766"/>
            <a:ext cx="18129738" cy="46426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1437" tIns="71437" rIns="71437" bIns="71437" anchor="ctr"/>
          <a:lstStyle/>
          <a:p>
            <a:pPr algn="l">
              <a:defRPr sz="7000" b="1" cap="all">
                <a:solidFill>
                  <a:srgbClr val="253957"/>
                </a:solidFill>
                <a:latin typeface="+mn-lt"/>
                <a:ea typeface="+mn-ea"/>
                <a:cs typeface="+mn-cs"/>
                <a:sym typeface="Arial Narrow"/>
              </a:defRPr>
            </a:pPr>
            <a:r>
              <a:rPr lang="en-US" dirty="0">
                <a:latin typeface="Times New Roman" pitchFamily="18" charset="0"/>
                <a:cs typeface="Times New Roman" pitchFamily="18" charset="0"/>
              </a:rPr>
              <a:t>How corporate governance affect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es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and financial performance: evidence from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russia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Очень крутой подзаголовок презентации"/>
          <p:cNvSpPr txBox="1"/>
          <p:nvPr/>
        </p:nvSpPr>
        <p:spPr>
          <a:xfrm>
            <a:off x="10370342" y="7169246"/>
            <a:ext cx="13175457" cy="51561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1437" tIns="71437" rIns="71437" bIns="71437"/>
          <a:lstStyle>
            <a:lvl1pPr algn="l">
              <a:defRPr sz="4200">
                <a:solidFill>
                  <a:srgbClr val="253957"/>
                </a:solidFill>
                <a:latin typeface="+mn-lt"/>
                <a:ea typeface="+mn-ea"/>
                <a:cs typeface="+mn-cs"/>
                <a:sym typeface="Arial Narrow"/>
              </a:defRPr>
            </a:lvl1pPr>
          </a:lstStyle>
          <a:p>
            <a:pPr algn="r"/>
            <a:r>
              <a:rPr lang="en-US" b="1" dirty="0">
                <a:latin typeface="Times New Roman" pitchFamily="18" charset="0"/>
                <a:cs typeface="Times New Roman" pitchFamily="18" charset="0"/>
              </a:rPr>
              <a:t>Elena </a:t>
            </a:r>
            <a:r>
              <a:rPr lang="en-US" b="1" dirty="0" err="1">
                <a:latin typeface="Times New Roman" pitchFamily="18" charset="0"/>
                <a:cs typeface="Times New Roman" pitchFamily="18" charset="0"/>
              </a:rPr>
              <a:t>Makeeva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en-US" dirty="0">
                <a:latin typeface="Times New Roman" pitchFamily="18" charset="0"/>
                <a:cs typeface="Times New Roman" pitchFamily="18" charset="0"/>
              </a:rPr>
              <a:t>Associate Professor of School of Finance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en-US" dirty="0">
                <a:latin typeface="Times New Roman" pitchFamily="18" charset="0"/>
                <a:cs typeface="Times New Roman" pitchFamily="18" charset="0"/>
              </a:rPr>
              <a:t>NRU “Higher School of Economics”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en-US" b="1" dirty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en-US" b="1" dirty="0">
                <a:latin typeface="Times New Roman" pitchFamily="18" charset="0"/>
                <a:cs typeface="Times New Roman" pitchFamily="18" charset="0"/>
              </a:rPr>
              <a:t>Konstantin Popov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en-US" dirty="0">
                <a:latin typeface="Times New Roman" pitchFamily="18" charset="0"/>
                <a:cs typeface="Times New Roman" pitchFamily="18" charset="0"/>
              </a:rPr>
              <a:t>PhD, Doctoral School of Economics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en-US" dirty="0">
                <a:latin typeface="Times New Roman" pitchFamily="18" charset="0"/>
                <a:cs typeface="Times New Roman" pitchFamily="18" charset="0"/>
              </a:rPr>
              <a:t>NRU “Higher School of Economics”</a:t>
            </a:r>
          </a:p>
          <a:p>
            <a:pPr algn="r"/>
            <a:endParaRPr lang="ru-RU" sz="3600" dirty="0"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4" name="Название подразделения,  лаборатории, факультета и т.д."/>
          <p:cNvSpPr txBox="1"/>
          <p:nvPr/>
        </p:nvSpPr>
        <p:spPr>
          <a:xfrm>
            <a:off x="5410200" y="1077040"/>
            <a:ext cx="18973800" cy="790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1437" tIns="71437" rIns="71437" bIns="71437" anchor="ctr">
            <a:spAutoFit/>
          </a:bodyPr>
          <a:lstStyle/>
          <a:p>
            <a:pPr algn="l">
              <a:defRPr sz="4200">
                <a:solidFill>
                  <a:srgbClr val="253957"/>
                </a:solidFill>
                <a:latin typeface="+mn-lt"/>
                <a:ea typeface="+mn-ea"/>
                <a:cs typeface="+mn-cs"/>
                <a:sym typeface="Arial Narrow"/>
              </a:defRPr>
            </a:pPr>
            <a:r>
              <a:rPr lang="en-US" dirty="0">
                <a:latin typeface="Times New Roman" pitchFamily="18" charset="0"/>
                <a:cs typeface="Times New Roman" pitchFamily="18" charset="0"/>
              </a:rPr>
              <a:t>36</a:t>
            </a:r>
            <a:r>
              <a:rPr lang="en-US" baseline="30000" dirty="0">
                <a:latin typeface="Times New Roman" pitchFamily="18" charset="0"/>
                <a:cs typeface="Times New Roman" pitchFamily="18" charset="0"/>
              </a:rPr>
              <a:t>t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Eurasia Business and Economics Society Conference - Istanbul</a:t>
            </a:r>
          </a:p>
        </p:txBody>
      </p:sp>
      <p:sp>
        <p:nvSpPr>
          <p:cNvPr id="55" name="Москва, 2017"/>
          <p:cNvSpPr txBox="1"/>
          <p:nvPr/>
        </p:nvSpPr>
        <p:spPr>
          <a:xfrm>
            <a:off x="7116915" y="11892516"/>
            <a:ext cx="9443424" cy="5751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1437" tIns="71437" rIns="71437" bIns="71437" anchor="ctr">
            <a:spAutoFit/>
          </a:bodyPr>
          <a:lstStyle>
            <a:lvl1pPr algn="l" defTabSz="642937">
              <a:defRPr sz="2800">
                <a:solidFill>
                  <a:srgbClr val="253957"/>
                </a:solidFill>
                <a:latin typeface="+mn-lt"/>
                <a:ea typeface="+mn-ea"/>
                <a:cs typeface="+mn-cs"/>
                <a:sym typeface="Arial Narrow"/>
              </a:defRPr>
            </a:lvl1pPr>
          </a:lstStyle>
          <a:p>
            <a:r>
              <a:rPr lang="en-US" dirty="0">
                <a:latin typeface="Times New Roman" pitchFamily="18" charset="0"/>
                <a:cs typeface="Times New Roman" pitchFamily="18" charset="0"/>
              </a:rPr>
              <a:t>Istanbul, Moscow, 2021</a:t>
            </a:r>
          </a:p>
        </p:txBody>
      </p:sp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06855" y="1330739"/>
            <a:ext cx="2166348" cy="2792805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" y="61555"/>
            <a:ext cx="24383999" cy="7598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nary choice models</a:t>
            </a:r>
            <a:endParaRPr kumimoji="0" lang="ru-RU" sz="4000" b="1" i="0" u="none" strike="noStrike" cap="none" spc="0" normalizeH="0" baseline="0" dirty="0">
              <a:ln>
                <a:noFill/>
              </a:ln>
              <a:solidFill>
                <a:srgbClr val="253957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1627385"/>
              </p:ext>
            </p:extLst>
          </p:nvPr>
        </p:nvGraphicFramePr>
        <p:xfrm>
          <a:off x="281354" y="990601"/>
          <a:ext cx="23835943" cy="12165638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8100646">
                  <a:extLst>
                    <a:ext uri="{9D8B030D-6E8A-4147-A177-3AD203B41FA5}">
                      <a16:colId xmlns:a16="http://schemas.microsoft.com/office/drawing/2014/main" val="2249747109"/>
                    </a:ext>
                  </a:extLst>
                </a:gridCol>
                <a:gridCol w="7905750">
                  <a:extLst>
                    <a:ext uri="{9D8B030D-6E8A-4147-A177-3AD203B41FA5}">
                      <a16:colId xmlns:a16="http://schemas.microsoft.com/office/drawing/2014/main" val="638282213"/>
                    </a:ext>
                  </a:extLst>
                </a:gridCol>
                <a:gridCol w="78295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3682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rginal</a:t>
                      </a:r>
                      <a:r>
                        <a:rPr lang="en-US" sz="2200" b="1" u="sng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effects:</a:t>
                      </a:r>
                      <a:endParaRPr lang="ru-RU" sz="22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ESG Participation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Logit</a:t>
                      </a:r>
                      <a:endParaRPr lang="ru-RU" sz="22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ESG Participation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Probit</a:t>
                      </a:r>
                      <a:endParaRPr lang="ru-RU" sz="22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763271621"/>
                  </a:ext>
                </a:extLst>
              </a:tr>
              <a:tr h="48283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EO</a:t>
                      </a:r>
                      <a:r>
                        <a:rPr lang="en-US" sz="2200" baseline="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Ag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06**</a:t>
                      </a:r>
                      <a:r>
                        <a:rPr lang="ru-RU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*</a:t>
                      </a: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0</a:t>
                      </a:r>
                      <a:r>
                        <a:rPr lang="ru-RU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9</a:t>
                      </a: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**</a:t>
                      </a:r>
                      <a:r>
                        <a:rPr lang="ru-RU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*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283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Tenu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090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09</a:t>
                      </a:r>
                      <a:r>
                        <a:rPr lang="ru-RU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</a:t>
                      </a: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924468762"/>
                  </a:ext>
                </a:extLst>
              </a:tr>
              <a:tr h="50647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ducation Level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037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0</a:t>
                      </a:r>
                      <a:r>
                        <a:rPr lang="ru-RU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592042168"/>
                  </a:ext>
                </a:extLst>
              </a:tr>
              <a:tr h="47521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ch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605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6</a:t>
                      </a:r>
                      <a:r>
                        <a:rPr lang="ru-RU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69</a:t>
                      </a: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242592571"/>
                  </a:ext>
                </a:extLst>
              </a:tr>
              <a:tr h="475213"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Financial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639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r>
                        <a:rPr lang="ru-RU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04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455031901"/>
                  </a:ext>
                </a:extLst>
              </a:tr>
              <a:tr h="475213"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anagement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760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</a:t>
                      </a:r>
                      <a:r>
                        <a:rPr lang="ru-RU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45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485307745"/>
                  </a:ext>
                </a:extLst>
              </a:tr>
              <a:tr h="53308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Civil Service Experience (dummy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790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</a:t>
                      </a:r>
                      <a:r>
                        <a:rPr lang="ru-RU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842</a:t>
                      </a: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68894220"/>
                  </a:ext>
                </a:extLst>
              </a:tr>
              <a:tr h="5282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Previous Experience (Corp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110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110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59381098"/>
                  </a:ext>
                </a:extLst>
              </a:tr>
              <a:tr h="48111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EO </a:t>
                      </a:r>
                      <a:r>
                        <a:rPr lang="en-US" sz="2200" dirty="0" err="1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oD</a:t>
                      </a:r>
                      <a:r>
                        <a:rPr lang="en-US" sz="2200" baseline="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Member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374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r>
                        <a:rPr lang="ru-RU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3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4187612266"/>
                  </a:ext>
                </a:extLst>
              </a:tr>
              <a:tr h="58942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Strategy Committee (dummy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26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</a:t>
                      </a:r>
                      <a:r>
                        <a:rPr lang="ru-RU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205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937277218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/ SD Committee (dummy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279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r>
                        <a:rPr lang="ru-RU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0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977997608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Board Siz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04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0</a:t>
                      </a:r>
                      <a:r>
                        <a:rPr lang="ru-RU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36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umber of Independent Directors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925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9</a:t>
                      </a:r>
                      <a:r>
                        <a:rPr lang="ru-RU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32</a:t>
                      </a: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591254381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 with Financial Expertise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04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0</a:t>
                      </a:r>
                      <a:r>
                        <a:rPr lang="ru-RU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4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577437075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-Expatriates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0181</a:t>
                      </a: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01</a:t>
                      </a:r>
                      <a:r>
                        <a:rPr lang="ru-RU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75</a:t>
                      </a:r>
                      <a:endParaRPr lang="en-US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622928755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EBITDA / Sales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4126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4</a:t>
                      </a:r>
                      <a:r>
                        <a:rPr lang="ru-RU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83</a:t>
                      </a: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Debt / Assets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636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</a:t>
                      </a:r>
                      <a:r>
                        <a:rPr lang="ru-RU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706</a:t>
                      </a: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etCAPEX</a:t>
                      </a: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 / Sales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0,1694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0,16</a:t>
                      </a:r>
                      <a:r>
                        <a:rPr lang="ru-RU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Observations</a:t>
                      </a:r>
                      <a:endParaRPr lang="ru-RU" sz="22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526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526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07100100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Predicted Y</a:t>
                      </a:r>
                      <a:endParaRPr lang="ru-RU" sz="22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0,2181</a:t>
                      </a: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0,2273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4152404387"/>
                  </a:ext>
                </a:extLst>
              </a:tr>
              <a:tr h="54128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seudo</a:t>
                      </a:r>
                      <a:r>
                        <a:rPr lang="en-US" sz="2200" b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-squared</a:t>
                      </a:r>
                      <a:endParaRPr lang="ru-RU" sz="22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24</a:t>
                      </a:r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06</a:t>
                      </a:r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24</a:t>
                      </a:r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06</a:t>
                      </a:r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420860861"/>
                  </a:ext>
                </a:extLst>
              </a:tr>
            </a:tbl>
          </a:graphicData>
        </a:graphic>
      </p:graphicFrame>
      <p:cxnSp>
        <p:nvCxnSpPr>
          <p:cNvPr id="15" name="Прямая соединительная линия 14"/>
          <p:cNvCxnSpPr/>
          <p:nvPr/>
        </p:nvCxnSpPr>
        <p:spPr>
          <a:xfrm>
            <a:off x="281354" y="13244060"/>
            <a:ext cx="23835944" cy="15028"/>
          </a:xfrm>
          <a:prstGeom prst="line">
            <a:avLst/>
          </a:prstGeom>
          <a:noFill/>
          <a:ln w="28575" cap="flat">
            <a:solidFill>
              <a:srgbClr val="253957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Box 12"/>
          <p:cNvSpPr txBox="1"/>
          <p:nvPr/>
        </p:nvSpPr>
        <p:spPr>
          <a:xfrm>
            <a:off x="0" y="13217788"/>
            <a:ext cx="24384000" cy="5136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>
                <a:ln>
                  <a:noFill/>
                </a:ln>
                <a:solidFill>
                  <a:srgbClr val="00B05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Green</a:t>
            </a:r>
            <a:r>
              <a:rPr kumimoji="0" lang="en-US" sz="2400" i="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posi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nega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kumimoji="0" lang="en-US" sz="24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ignificance: * - 90%, ** - 95%, *** - 99%.</a:t>
            </a:r>
            <a:endParaRPr kumimoji="0" lang="ru-RU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986046266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" y="61555"/>
            <a:ext cx="24383999" cy="7598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ypotheses 1 and 2 – Panel models</a:t>
            </a:r>
            <a:endParaRPr kumimoji="0" lang="ru-RU" sz="4000" b="1" i="0" u="none" strike="noStrike" cap="none" spc="0" normalizeH="0" baseline="0" dirty="0">
              <a:ln>
                <a:noFill/>
              </a:ln>
              <a:solidFill>
                <a:srgbClr val="253957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3926582"/>
              </p:ext>
            </p:extLst>
          </p:nvPr>
        </p:nvGraphicFramePr>
        <p:xfrm>
          <a:off x="281354" y="990601"/>
          <a:ext cx="23797846" cy="11657475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8097863">
                  <a:extLst>
                    <a:ext uri="{9D8B030D-6E8A-4147-A177-3AD203B41FA5}">
                      <a16:colId xmlns:a16="http://schemas.microsoft.com/office/drawing/2014/main" val="2249747109"/>
                    </a:ext>
                  </a:extLst>
                </a:gridCol>
                <a:gridCol w="3946289">
                  <a:extLst>
                    <a:ext uri="{9D8B030D-6E8A-4147-A177-3AD203B41FA5}">
                      <a16:colId xmlns:a16="http://schemas.microsoft.com/office/drawing/2014/main" val="638282213"/>
                    </a:ext>
                  </a:extLst>
                </a:gridCol>
                <a:gridCol w="51103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433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2171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luencing / Dependent Variables</a:t>
                      </a:r>
                      <a:endParaRPr lang="ru-RU" sz="22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ESG Score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Social Score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Environmental Score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763271621"/>
                  </a:ext>
                </a:extLst>
              </a:tr>
              <a:tr h="51098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Tenu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281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24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3457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924468762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ducation Level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4969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2229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2,1063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592042168"/>
                  </a:ext>
                </a:extLst>
              </a:tr>
              <a:tr h="49330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ch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8077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,1972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688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242592571"/>
                  </a:ext>
                </a:extLst>
              </a:tr>
              <a:tr h="493306"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Financial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977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8691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,8140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455031901"/>
                  </a:ext>
                </a:extLst>
              </a:tr>
              <a:tr h="493306"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anagement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5,8023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,950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,4406*</a:t>
                      </a:r>
                      <a:endParaRPr lang="ru-RU" sz="2200" b="1" i="0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485307745"/>
                  </a:ext>
                </a:extLst>
              </a:tr>
              <a:tr h="56417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Civil Service Experience (dummy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1613*</a:t>
                      </a:r>
                      <a:endParaRPr lang="ru-RU" sz="2200" b="1" i="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6778*</a:t>
                      </a:r>
                      <a:endParaRPr lang="ru-RU" sz="2200" b="1" i="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3,0865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68894220"/>
                  </a:ext>
                </a:extLst>
              </a:tr>
              <a:tr h="55902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Previous Experience (Corp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6759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7412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4736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59381098"/>
                  </a:ext>
                </a:extLst>
              </a:tr>
              <a:tr h="50916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EO </a:t>
                      </a:r>
                      <a:r>
                        <a:rPr lang="en-US" sz="2200" dirty="0" err="1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oD</a:t>
                      </a:r>
                      <a:r>
                        <a:rPr lang="en-US" sz="2200" baseline="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Member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,8104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,2688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9051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4187612266"/>
                  </a:ext>
                </a:extLst>
              </a:tr>
              <a:tr h="62378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Strategy Committee (dummy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8468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4,8713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1,593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937277218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/ SD Committee (dummy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431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5,0764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6,8359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977997608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umber of Independent Directors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4122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705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9827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591254381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 with Financial Expertise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468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4178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188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577437075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-Expatriates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1,1397*</a:t>
                      </a: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1,5543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394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622928755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EBITDA / Sales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1,8810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5,8920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3,846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899711064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Debt / Assets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,6081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3,655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9,5418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611963586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etCAPEX</a:t>
                      </a: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 / Sales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39,6631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46,4151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29,0520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782590832"/>
                  </a:ext>
                </a:extLst>
              </a:tr>
              <a:tr h="49330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ROA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2,3407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2,258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11,2995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52854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CONST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21,9802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23,8924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8,460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719325101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Observations</a:t>
                      </a:r>
                      <a:endParaRPr lang="ru-RU" sz="22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149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149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149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07100100"/>
                  </a:ext>
                </a:extLst>
              </a:tr>
              <a:tr h="572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-squared</a:t>
                      </a:r>
                      <a:endParaRPr lang="ru-RU" sz="22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,31%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,92%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35,61%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420860861"/>
                  </a:ext>
                </a:extLst>
              </a:tr>
            </a:tbl>
          </a:graphicData>
        </a:graphic>
      </p:graphicFrame>
      <p:cxnSp>
        <p:nvCxnSpPr>
          <p:cNvPr id="15" name="Прямая соединительная линия 14"/>
          <p:cNvCxnSpPr/>
          <p:nvPr/>
        </p:nvCxnSpPr>
        <p:spPr>
          <a:xfrm>
            <a:off x="281354" y="13244060"/>
            <a:ext cx="23835944" cy="15028"/>
          </a:xfrm>
          <a:prstGeom prst="line">
            <a:avLst/>
          </a:prstGeom>
          <a:noFill/>
          <a:ln w="28575" cap="flat">
            <a:solidFill>
              <a:srgbClr val="253957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Box 12"/>
          <p:cNvSpPr txBox="1"/>
          <p:nvPr/>
        </p:nvSpPr>
        <p:spPr>
          <a:xfrm>
            <a:off x="0" y="13217788"/>
            <a:ext cx="24384000" cy="5136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>
                <a:ln>
                  <a:noFill/>
                </a:ln>
                <a:solidFill>
                  <a:srgbClr val="00B05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Green</a:t>
            </a:r>
            <a:r>
              <a:rPr kumimoji="0" lang="en-US" sz="2400" i="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posi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nega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kumimoji="0" lang="en-US" sz="24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ignificance: * - 90%, ** - 95%, *** - 99%.</a:t>
            </a:r>
            <a:endParaRPr kumimoji="0" lang="ru-RU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476461626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" y="61555"/>
            <a:ext cx="24383999" cy="7598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ypotheses 1 and 2 – Panel models (Heckman)</a:t>
            </a:r>
            <a:endParaRPr kumimoji="0" lang="ru-RU" sz="4000" b="1" i="0" u="none" strike="noStrike" cap="none" spc="0" normalizeH="0" baseline="0" dirty="0">
              <a:ln>
                <a:noFill/>
              </a:ln>
              <a:solidFill>
                <a:srgbClr val="253957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434141"/>
              </p:ext>
            </p:extLst>
          </p:nvPr>
        </p:nvGraphicFramePr>
        <p:xfrm>
          <a:off x="281354" y="990601"/>
          <a:ext cx="23797846" cy="11430002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8097863">
                  <a:extLst>
                    <a:ext uri="{9D8B030D-6E8A-4147-A177-3AD203B41FA5}">
                      <a16:colId xmlns:a16="http://schemas.microsoft.com/office/drawing/2014/main" val="2249747109"/>
                    </a:ext>
                  </a:extLst>
                </a:gridCol>
                <a:gridCol w="3946289">
                  <a:extLst>
                    <a:ext uri="{9D8B030D-6E8A-4147-A177-3AD203B41FA5}">
                      <a16:colId xmlns:a16="http://schemas.microsoft.com/office/drawing/2014/main" val="638282213"/>
                    </a:ext>
                  </a:extLst>
                </a:gridCol>
                <a:gridCol w="51103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433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6537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luencing / Dependent Variables</a:t>
                      </a:r>
                      <a:endParaRPr lang="ru-RU" sz="22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baseline="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ESG Participation x </a:t>
                      </a: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ESG Score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baseline="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ESG Participation x </a:t>
                      </a: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Social Score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baseline="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ESG Participation x </a:t>
                      </a: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Environmental Score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763271621"/>
                  </a:ext>
                </a:extLst>
              </a:tr>
              <a:tr h="58927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Tenu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023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341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277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924468762"/>
                  </a:ext>
                </a:extLst>
              </a:tr>
              <a:tr h="66059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ducation Level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7884*</a:t>
                      </a:r>
                      <a:endParaRPr lang="ru-RU" sz="2200" b="1" i="0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2565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2,2075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592042168"/>
                  </a:ext>
                </a:extLst>
              </a:tr>
              <a:tr h="57996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ch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6394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6048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473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242592571"/>
                  </a:ext>
                </a:extLst>
              </a:tr>
              <a:tr h="579965"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Financial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980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6,2944*</a:t>
                      </a:r>
                      <a:endParaRPr lang="ru-RU" sz="2200" b="1" i="0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,6970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455031901"/>
                  </a:ext>
                </a:extLst>
              </a:tr>
              <a:tr h="579965"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anagement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,5891*</a:t>
                      </a:r>
                      <a:endParaRPr lang="ru-RU" sz="2200" b="1" i="0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,4974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5,9782*</a:t>
                      </a:r>
                      <a:endParaRPr lang="ru-RU" sz="2200" b="1" i="0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485307745"/>
                  </a:ext>
                </a:extLst>
              </a:tr>
              <a:tr h="65059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Civil Service Experience (dummy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795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7319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1,697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68894220"/>
                  </a:ext>
                </a:extLst>
              </a:tr>
              <a:tr h="64466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Previous Experience (Corp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3915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4161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3366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59381098"/>
                  </a:ext>
                </a:extLst>
              </a:tr>
              <a:tr h="58716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EO </a:t>
                      </a:r>
                      <a:r>
                        <a:rPr lang="en-US" sz="2200" dirty="0" err="1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oD</a:t>
                      </a:r>
                      <a:r>
                        <a:rPr lang="en-US" sz="2200" baseline="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Member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,6471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740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465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4187612266"/>
                  </a:ext>
                </a:extLst>
              </a:tr>
              <a:tr h="71934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Strategy Committee (dummy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0515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2,2505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2,726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937277218"/>
                  </a:ext>
                </a:extLst>
              </a:tr>
              <a:tr h="66059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/ SD Committee (dummy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6362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568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6,9793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977997608"/>
                  </a:ext>
                </a:extLst>
              </a:tr>
              <a:tr h="66059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umber of Independent Directors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6119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329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5096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591254381"/>
                  </a:ext>
                </a:extLst>
              </a:tr>
              <a:tr h="660596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 with Financial Expertise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3988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5564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3051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577437075"/>
                  </a:ext>
                </a:extLst>
              </a:tr>
              <a:tr h="66059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-Expatriates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1,1682*</a:t>
                      </a: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1,6529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596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622928755"/>
                  </a:ext>
                </a:extLst>
              </a:tr>
              <a:tr h="66059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Size (ln Revenue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2,0653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899711064"/>
                  </a:ext>
                </a:extLst>
              </a:tr>
              <a:tr h="60951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CONST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9061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31,8393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18,8330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719325101"/>
                  </a:ext>
                </a:extLst>
              </a:tr>
              <a:tr h="66059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Observations</a:t>
                      </a:r>
                      <a:endParaRPr lang="ru-RU" sz="22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526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526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526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07100100"/>
                  </a:ext>
                </a:extLst>
              </a:tr>
            </a:tbl>
          </a:graphicData>
        </a:graphic>
      </p:graphicFrame>
      <p:cxnSp>
        <p:nvCxnSpPr>
          <p:cNvPr id="15" name="Прямая соединительная линия 14"/>
          <p:cNvCxnSpPr/>
          <p:nvPr/>
        </p:nvCxnSpPr>
        <p:spPr>
          <a:xfrm>
            <a:off x="281354" y="13244060"/>
            <a:ext cx="23835944" cy="15028"/>
          </a:xfrm>
          <a:prstGeom prst="line">
            <a:avLst/>
          </a:prstGeom>
          <a:noFill/>
          <a:ln w="28575" cap="flat">
            <a:solidFill>
              <a:srgbClr val="253957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TextBox 12"/>
          <p:cNvSpPr txBox="1"/>
          <p:nvPr/>
        </p:nvSpPr>
        <p:spPr>
          <a:xfrm>
            <a:off x="0" y="13217788"/>
            <a:ext cx="24384000" cy="5136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>
                <a:ln>
                  <a:noFill/>
                </a:ln>
                <a:solidFill>
                  <a:srgbClr val="00B05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Green</a:t>
            </a:r>
            <a:r>
              <a:rPr kumimoji="0" lang="en-US" sz="2400" i="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posi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nega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kumimoji="0" lang="en-US" sz="24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ignificance: * - 90%, ** - 95%, *** - 99%.</a:t>
            </a:r>
            <a:endParaRPr kumimoji="0" lang="ru-RU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20764813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" y="112770"/>
            <a:ext cx="24383999" cy="7598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ypotheses </a:t>
            </a:r>
            <a:r>
              <a:rPr lang="ru-RU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Panel models</a:t>
            </a:r>
            <a:endParaRPr kumimoji="0" lang="ru-RU" sz="4000" b="1" i="0" u="none" strike="noStrike" cap="none" spc="0" normalizeH="0" baseline="0" dirty="0">
              <a:ln>
                <a:noFill/>
              </a:ln>
              <a:solidFill>
                <a:srgbClr val="253957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800834"/>
              </p:ext>
            </p:extLst>
          </p:nvPr>
        </p:nvGraphicFramePr>
        <p:xfrm>
          <a:off x="281354" y="1162050"/>
          <a:ext cx="23721645" cy="11334748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7517873">
                  <a:extLst>
                    <a:ext uri="{9D8B030D-6E8A-4147-A177-3AD203B41FA5}">
                      <a16:colId xmlns:a16="http://schemas.microsoft.com/office/drawing/2014/main" val="2249747109"/>
                    </a:ext>
                  </a:extLst>
                </a:gridCol>
                <a:gridCol w="3863151">
                  <a:extLst>
                    <a:ext uri="{9D8B030D-6E8A-4147-A177-3AD203B41FA5}">
                      <a16:colId xmlns:a16="http://schemas.microsoft.com/office/drawing/2014/main" val="638282213"/>
                    </a:ext>
                  </a:extLst>
                </a:gridCol>
                <a:gridCol w="37558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850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3996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95482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luencing / Dependent Variables</a:t>
                      </a:r>
                      <a:endParaRPr lang="ru-RU" sz="2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Ln </a:t>
                      </a:r>
                      <a:r>
                        <a:rPr lang="en-US" sz="25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arketCap</a:t>
                      </a:r>
                      <a:endParaRPr lang="ru-RU" sz="2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Ln </a:t>
                      </a:r>
                      <a:r>
                        <a:rPr lang="en-US" sz="25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arketCap</a:t>
                      </a:r>
                      <a:endParaRPr lang="ru-RU" sz="2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Tobin’s Q</a:t>
                      </a:r>
                      <a:endParaRPr lang="ru-RU" sz="2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5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Tobin’s Q</a:t>
                      </a:r>
                      <a:endParaRPr lang="ru-RU" sz="2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763271621"/>
                  </a:ext>
                </a:extLst>
              </a:tr>
              <a:tr h="90979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G Participation</a:t>
                      </a:r>
                      <a:r>
                        <a:rPr lang="en-US" sz="25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x </a:t>
                      </a:r>
                      <a:r>
                        <a:rPr lang="en-US" sz="2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G Score</a:t>
                      </a:r>
                      <a:endParaRPr lang="ru-RU" sz="25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dirty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112*</a:t>
                      </a:r>
                      <a:endParaRPr lang="ru-RU" sz="2500" b="1" i="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67*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924468762"/>
                  </a:ext>
                </a:extLst>
              </a:tr>
              <a:tr h="90979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G Participation</a:t>
                      </a:r>
                      <a:r>
                        <a:rPr lang="en-US" sz="25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x </a:t>
                      </a:r>
                      <a:r>
                        <a:rPr lang="en-US" sz="25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</a:t>
                      </a:r>
                      <a:r>
                        <a:rPr lang="en-US" sz="2500" baseline="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Social Score</a:t>
                      </a:r>
                      <a:endParaRPr lang="ru-RU" sz="25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13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056</a:t>
                      </a:r>
                      <a:endParaRPr lang="ru-RU" sz="25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979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G Participation</a:t>
                      </a:r>
                      <a:r>
                        <a:rPr lang="en-US" sz="25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x </a:t>
                      </a:r>
                      <a:r>
                        <a:rPr lang="en-US" sz="25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Environmental Score</a:t>
                      </a:r>
                      <a:endParaRPr lang="ru-RU" sz="25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01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082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889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BITDA/Sales</a:t>
                      </a:r>
                      <a:endParaRPr lang="ru-RU" sz="25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2539*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8299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2856*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3081*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500673960"/>
                  </a:ext>
                </a:extLst>
              </a:tr>
              <a:tr h="101666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</a:t>
                      </a:r>
                      <a:r>
                        <a:rPr lang="en-US" sz="25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/ Assets</a:t>
                      </a:r>
                      <a:endParaRPr lang="ru-RU" sz="25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213</a:t>
                      </a:r>
                      <a:endParaRPr lang="ru-RU" sz="25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961</a:t>
                      </a:r>
                      <a:endParaRPr lang="ru-RU" sz="25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1343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1265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68894220"/>
                  </a:ext>
                </a:extLst>
              </a:tr>
              <a:tr h="111833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dirty="0" err="1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NetCAPEX</a:t>
                      </a:r>
                      <a:r>
                        <a:rPr lang="en-US" sz="25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/ Sales</a:t>
                      </a:r>
                      <a:endParaRPr lang="ru-RU" sz="25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1,2493 (-1 year)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1,1283 (-1 year)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5309 (-1 year)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5153 (-1 year)</a:t>
                      </a:r>
                      <a:endParaRPr lang="ru-RU" sz="25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59381098"/>
                  </a:ext>
                </a:extLst>
              </a:tr>
              <a:tr h="120721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ize (</a:t>
                      </a:r>
                      <a:r>
                        <a:rPr lang="en-US" sz="2500" dirty="0" err="1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ln</a:t>
                      </a:r>
                      <a:r>
                        <a:rPr lang="en-US" sz="25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Revenue)</a:t>
                      </a:r>
                      <a:endParaRPr lang="ru-RU" sz="25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1491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3416*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2040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949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4187612266"/>
                  </a:ext>
                </a:extLst>
              </a:tr>
              <a:tr h="111981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b="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ONST</a:t>
                      </a:r>
                      <a:endParaRPr lang="ru-RU" sz="2500" b="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9,2125*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6,5996*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2,6102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5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2,5227**</a:t>
                      </a:r>
                      <a:endParaRPr lang="ru-RU" sz="25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879069920"/>
                  </a:ext>
                </a:extLst>
              </a:tr>
              <a:tr h="111981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b="1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Observations</a:t>
                      </a:r>
                      <a:endParaRPr lang="ru-RU" sz="25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5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5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5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5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59611294"/>
                  </a:ext>
                </a:extLst>
              </a:tr>
              <a:tr h="111981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5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-squared</a:t>
                      </a:r>
                      <a:endParaRPr lang="ru-RU" sz="25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dirty="0">
                          <a:latin typeface="Times New Roman" pitchFamily="18" charset="0"/>
                          <a:cs typeface="Times New Roman" pitchFamily="18" charset="0"/>
                        </a:rPr>
                        <a:t>56,62%</a:t>
                      </a:r>
                      <a:endParaRPr lang="ru-RU" sz="25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dirty="0">
                          <a:latin typeface="Times New Roman" pitchFamily="18" charset="0"/>
                          <a:cs typeface="Times New Roman" pitchFamily="18" charset="0"/>
                        </a:rPr>
                        <a:t>61,11%</a:t>
                      </a:r>
                      <a:endParaRPr lang="ru-RU" sz="25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dirty="0">
                          <a:latin typeface="Times New Roman" pitchFamily="18" charset="0"/>
                          <a:cs typeface="Times New Roman" pitchFamily="18" charset="0"/>
                        </a:rPr>
                        <a:t>13,51 %</a:t>
                      </a:r>
                      <a:endParaRPr lang="ru-RU" sz="25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b="1" i="0" dirty="0">
                          <a:latin typeface="Times New Roman" pitchFamily="18" charset="0"/>
                          <a:cs typeface="Times New Roman" pitchFamily="18" charset="0"/>
                        </a:rPr>
                        <a:t>11,71%</a:t>
                      </a:r>
                      <a:endParaRPr lang="ru-RU" sz="25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420860861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0" y="13085894"/>
            <a:ext cx="24384000" cy="5136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>
                <a:ln>
                  <a:noFill/>
                </a:ln>
                <a:solidFill>
                  <a:srgbClr val="00B05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Green</a:t>
            </a:r>
            <a:r>
              <a:rPr kumimoji="0" lang="en-US" sz="2400" i="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posi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nega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kumimoji="0" lang="en-US" sz="24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ignificance: * - 90%, ** - 95%, *** - 99%.</a:t>
            </a:r>
            <a:endParaRPr kumimoji="0" lang="ru-RU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716180044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" y="-39630"/>
            <a:ext cx="24383999" cy="7598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ypotheses </a:t>
            </a:r>
            <a:r>
              <a:rPr lang="ru-RU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Panel models</a:t>
            </a:r>
            <a:endParaRPr kumimoji="0" lang="ru-RU" sz="4000" b="1" i="0" u="none" strike="noStrike" cap="none" spc="0" normalizeH="0" baseline="0" dirty="0">
              <a:ln>
                <a:noFill/>
              </a:ln>
              <a:solidFill>
                <a:srgbClr val="253957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4244636"/>
              </p:ext>
            </p:extLst>
          </p:nvPr>
        </p:nvGraphicFramePr>
        <p:xfrm>
          <a:off x="281354" y="742949"/>
          <a:ext cx="23721646" cy="12463717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6872750">
                  <a:extLst>
                    <a:ext uri="{9D8B030D-6E8A-4147-A177-3AD203B41FA5}">
                      <a16:colId xmlns:a16="http://schemas.microsoft.com/office/drawing/2014/main" val="2249747109"/>
                    </a:ext>
                  </a:extLst>
                </a:gridCol>
                <a:gridCol w="3825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0221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3655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635285">
                  <a:extLst>
                    <a:ext uri="{9D8B030D-6E8A-4147-A177-3AD203B41FA5}">
                      <a16:colId xmlns:a16="http://schemas.microsoft.com/office/drawing/2014/main" val="235243784"/>
                    </a:ext>
                  </a:extLst>
                </a:gridCol>
              </a:tblGrid>
              <a:tr h="54818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luencing / Dependent Variables</a:t>
                      </a:r>
                      <a:endParaRPr lang="ru-RU" sz="22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Ln</a:t>
                      </a: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arketCap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Ln</a:t>
                      </a: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arketCap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Ln</a:t>
                      </a: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arketCap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Tobin’s Q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763271621"/>
                  </a:ext>
                </a:extLst>
              </a:tr>
              <a:tr h="50250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G Participation x ESG Sco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164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059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924468762"/>
                  </a:ext>
                </a:extLst>
              </a:tr>
              <a:tr h="50250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G Participation x </a:t>
                      </a: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Environmental Sco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122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250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G Participation x </a:t>
                      </a: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Social Sco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123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250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EO Tenu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506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511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533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00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250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EO Educational Level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407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400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384</a:t>
                      </a: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233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2502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  <a:sym typeface="Helvetica Light"/>
                        </a:rPr>
                        <a:t>Technical Education (dummy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2546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2741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2691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009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2502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  <a:sym typeface="Helvetica Light"/>
                        </a:rPr>
                        <a:t>Economic &amp; Financial Education (dummy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3017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2668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001*</a:t>
                      </a:r>
                      <a:endParaRPr lang="ru-RU" sz="2200" b="1" i="0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417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02502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  <a:sym typeface="Helvetica Light"/>
                        </a:rPr>
                        <a:t>Management Education (dummy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84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57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780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812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966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Civil Service Experience (dummy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1066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95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117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637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7966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Previous Experience (Corp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6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5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145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082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965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EO Board Member (dummy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90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84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864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086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965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Strategy Committee (dummy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937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950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994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2930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965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/ SD Committee (dummy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885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276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128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1369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965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umber of Independent Directors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857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859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871**</a:t>
                      </a:r>
                      <a:endParaRPr lang="ru-RU" sz="2200" b="1" i="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124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96548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1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 with Financial Expertise</a:t>
                      </a:r>
                      <a:endParaRPr lang="ru-RU" sz="2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863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863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875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269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9654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1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-Expatriates</a:t>
                      </a:r>
                      <a:endParaRPr lang="ru-RU" sz="2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795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766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776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310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50250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BITDA/Sales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2734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2652 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2889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2972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500673960"/>
                  </a:ext>
                </a:extLst>
              </a:tr>
              <a:tr h="53201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</a:t>
                      </a:r>
                      <a:r>
                        <a:rPr lang="en-US" sz="22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/ Assets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413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429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437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4683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68894220"/>
                  </a:ext>
                </a:extLst>
              </a:tr>
              <a:tr h="58521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 err="1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NetCAPEX</a:t>
                      </a:r>
                      <a:r>
                        <a:rPr lang="en-US" sz="22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/ Sales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6122 (-1 year)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5604 (-1 year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5965 (-1 year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3244 (-1 year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59381098"/>
                  </a:ext>
                </a:extLst>
              </a:tr>
              <a:tr h="57417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ROA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9206 (-1 year)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9326 (-1 year)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9302 (-1 year)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3441 (-1 year)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58599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ONST</a:t>
                      </a:r>
                      <a:endParaRPr lang="ru-RU" sz="2200" b="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9,3479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0,0247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9,9841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133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879069920"/>
                  </a:ext>
                </a:extLst>
              </a:tr>
              <a:tr h="58599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Observations</a:t>
                      </a:r>
                      <a:endParaRPr lang="ru-RU" sz="22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59611294"/>
                  </a:ext>
                </a:extLst>
              </a:tr>
              <a:tr h="58599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-squared</a:t>
                      </a:r>
                      <a:endParaRPr lang="ru-RU" sz="22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34,11%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28,35%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30,47%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26,61%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420860861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0" y="13217788"/>
            <a:ext cx="24384000" cy="5136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>
                <a:ln>
                  <a:noFill/>
                </a:ln>
                <a:solidFill>
                  <a:srgbClr val="00B05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Green</a:t>
            </a:r>
            <a:r>
              <a:rPr kumimoji="0" lang="en-US" sz="2400" i="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posi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nega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kumimoji="0" lang="en-US" sz="24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ignificance: * - 90%, ** - 95%, *** - 99%.</a:t>
            </a:r>
            <a:endParaRPr kumimoji="0" lang="ru-RU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71618004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" y="-39630"/>
            <a:ext cx="24383999" cy="7598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ypotheses </a:t>
            </a:r>
            <a:r>
              <a:rPr lang="ru-RU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4000" b="1" dirty="0">
                <a:solidFill>
                  <a:srgbClr val="2539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Maximum likelihood models</a:t>
            </a:r>
            <a:endParaRPr kumimoji="0" lang="ru-RU" sz="4000" b="1" i="0" u="none" strike="noStrike" cap="none" spc="0" normalizeH="0" baseline="0" dirty="0">
              <a:ln>
                <a:noFill/>
              </a:ln>
              <a:solidFill>
                <a:srgbClr val="253957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913941"/>
              </p:ext>
            </p:extLst>
          </p:nvPr>
        </p:nvGraphicFramePr>
        <p:xfrm>
          <a:off x="281354" y="742951"/>
          <a:ext cx="23721646" cy="12491856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6872750">
                  <a:extLst>
                    <a:ext uri="{9D8B030D-6E8A-4147-A177-3AD203B41FA5}">
                      <a16:colId xmlns:a16="http://schemas.microsoft.com/office/drawing/2014/main" val="2249747109"/>
                    </a:ext>
                  </a:extLst>
                </a:gridCol>
                <a:gridCol w="3825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0221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3655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635285">
                  <a:extLst>
                    <a:ext uri="{9D8B030D-6E8A-4147-A177-3AD203B41FA5}">
                      <a16:colId xmlns:a16="http://schemas.microsoft.com/office/drawing/2014/main" val="235243784"/>
                    </a:ext>
                  </a:extLst>
                </a:gridCol>
              </a:tblGrid>
              <a:tr h="56079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luencing / Dependent Variables</a:t>
                      </a:r>
                      <a:endParaRPr lang="ru-RU" sz="22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Ln</a:t>
                      </a: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arketCap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Ln</a:t>
                      </a: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en-US" sz="2400" b="1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MarketCap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Tobin’s Q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Tobin’s Q</a:t>
                      </a:r>
                      <a:endParaRPr lang="ru-RU" sz="2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3763271621"/>
                  </a:ext>
                </a:extLst>
              </a:tr>
              <a:tr h="51405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SG Sco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453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184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924468762"/>
                  </a:ext>
                </a:extLst>
              </a:tr>
              <a:tr h="51405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Environmental Sco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105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045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405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Social Sco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337**</a:t>
                      </a:r>
                      <a:endParaRPr lang="ru-RU" sz="2200" b="1" i="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2200" b="0" i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28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405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EO Tenure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0001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006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026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02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405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EO Educational Level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647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53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11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153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4059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  <a:sym typeface="Helvetica Light"/>
                        </a:rPr>
                        <a:t>Technical Education (dummy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34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26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89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905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4059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  <a:sym typeface="Helvetica Light"/>
                        </a:rPr>
                        <a:t>Economic &amp; Financial Education (dummy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139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169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82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957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4059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  <a:sym typeface="Helvetica Light"/>
                        </a:rPr>
                        <a:t>Management Education (dummy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6595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6513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556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55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9069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Civil Service Experience (dummy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1929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2002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277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305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9069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O Previous Experience (Corp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065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06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00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013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9069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EO Board Member (dummy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0001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1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125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1315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9069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Strategy Committee (dummy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3015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3082*</a:t>
                      </a: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2960***</a:t>
                      </a: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3000***</a:t>
                      </a: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0771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ESG / SD Committee (dummy)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61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76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54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0600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9069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umber of Independent Directors</a:t>
                      </a:r>
                      <a:endParaRPr lang="ru-RU" sz="21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38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43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34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46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90693"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1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 with Financial Expertise</a:t>
                      </a:r>
                      <a:endParaRPr lang="ru-RU" sz="2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429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401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53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142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9069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en-US" sz="21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Number of Directors-Expatriates</a:t>
                      </a:r>
                      <a:endParaRPr lang="ru-RU" sz="21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495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505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609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0609 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51405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BITDA/Sales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3,5327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3,5760 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8443 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8704 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500673960"/>
                  </a:ext>
                </a:extLst>
              </a:tr>
              <a:tr h="52031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</a:t>
                      </a:r>
                      <a:r>
                        <a:rPr lang="en-US" sz="22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/ Assets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447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405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4095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4082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68894220"/>
                  </a:ext>
                </a:extLst>
              </a:tr>
              <a:tr h="572347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 err="1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NetCAPEX</a:t>
                      </a:r>
                      <a:r>
                        <a:rPr lang="en-US" sz="2200" dirty="0"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/ Sales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0126 (-1 year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-0,0146 (-1 year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1621 (-1 year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Helvetica Light"/>
                        </a:rPr>
                        <a:t>0,1545 (-1 year)</a:t>
                      </a:r>
                      <a:endParaRPr lang="ru-RU" sz="22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59381098"/>
                  </a:ext>
                </a:extLst>
              </a:tr>
              <a:tr h="56154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Size (ln Revenue)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6088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6285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529 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-0,1416 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206747089"/>
                  </a:ext>
                </a:extLst>
              </a:tr>
              <a:tr h="56154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ROA</a:t>
                      </a:r>
                      <a:endParaRPr lang="ru-RU" sz="2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9848 (-1 year)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0,9983 (-1 year)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4187 (-1 year)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4250 (-1 year)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rgbClr val="00B050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57310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0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CONST</a:t>
                      </a:r>
                      <a:endParaRPr lang="ru-RU" sz="2200" b="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2,3277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2,1258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7340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821531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1,6149***</a:t>
                      </a:r>
                      <a:endParaRPr lang="ru-RU" sz="22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879069920"/>
                  </a:ext>
                </a:extLst>
              </a:tr>
              <a:tr h="57310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b="1" dirty="0"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Observations</a:t>
                      </a:r>
                      <a:endParaRPr lang="ru-RU" sz="2200" b="1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i="0" dirty="0">
                          <a:latin typeface="Times New Roman" pitchFamily="18" charset="0"/>
                          <a:cs typeface="Times New Roman" pitchFamily="18" charset="0"/>
                        </a:rPr>
                        <a:t>441</a:t>
                      </a:r>
                      <a:endParaRPr lang="ru-RU" sz="2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174" marR="44174" marT="0" marB="0" anchor="ctr"/>
                </a:tc>
                <a:extLst>
                  <a:ext uri="{0D108BD9-81ED-4DB2-BD59-A6C34878D82A}">
                    <a16:rowId xmlns:a16="http://schemas.microsoft.com/office/drawing/2014/main" val="175961129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0" y="13217788"/>
            <a:ext cx="24384000" cy="5136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spc="0" normalizeH="0" baseline="0" dirty="0">
                <a:ln>
                  <a:noFill/>
                </a:ln>
                <a:solidFill>
                  <a:srgbClr val="00B05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Green</a:t>
            </a:r>
            <a:r>
              <a:rPr kumimoji="0" lang="en-US" sz="2400" i="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posi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 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for negative </a:t>
            </a:r>
            <a:r>
              <a:rPr lang="en-US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f</a:t>
            </a:r>
            <a:r>
              <a:rPr lang="en-US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kumimoji="0" lang="en-US" sz="24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Helvetica Light"/>
              </a:rPr>
              <a:t>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ignificance: * - 90%, ** - 95%, *** - 99%.</a:t>
            </a:r>
            <a:endParaRPr kumimoji="0" lang="ru-RU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268094795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" descr="Изображение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06855" y="1330739"/>
            <a:ext cx="2166348" cy="279280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Прямоугольник 2"/>
          <p:cNvSpPr/>
          <p:nvPr/>
        </p:nvSpPr>
        <p:spPr>
          <a:xfrm>
            <a:off x="5295900" y="0"/>
            <a:ext cx="190881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53957"/>
                </a:solidFill>
                <a:latin typeface="Times New Roman" pitchFamily="18" charset="0"/>
                <a:cs typeface="Times New Roman" pitchFamily="18" charset="0"/>
              </a:rPr>
              <a:t>Key Results</a:t>
            </a:r>
            <a:endParaRPr lang="en-US" dirty="0">
              <a:solidFill>
                <a:srgbClr val="25395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95900" y="716329"/>
            <a:ext cx="18859499" cy="1314205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514350" indent="-51435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EO Tenure and CEO Civil Service Experience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positively affect corporate ESG score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, which is consistent with previous research (Hong et al., 2016; Malik et al., 2020) and can be explained by higher attitude of such CEOs to long-term value of company, and values of the whole society.</a:t>
            </a:r>
          </a:p>
          <a:p>
            <a:pPr marL="514350" indent="-51435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t the same time, previous experience at CEO position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negatively affects ESG score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, which can be explained by poorer ESG understanding among Russian CEOs.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ypotheses 1 is partly confirmed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514350" indent="-51435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Board Independence 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nd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Number of Directors-Expatriates 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re positively associated with Russian companies’ ESG score, which agrees with </a:t>
            </a:r>
            <a:r>
              <a:rPr lang="en-US" sz="2800" dirty="0" err="1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Shaukat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et al., 2015, </a:t>
            </a:r>
            <a:r>
              <a:rPr lang="en-US" sz="2800" dirty="0" err="1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Ferrel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et al., 2016, </a:t>
            </a:r>
            <a:r>
              <a:rPr lang="en-US" sz="2800" dirty="0" err="1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aque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(2017). But,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specialized ESG Committee 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s positively associated only with corporate Environmental performance.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ypotheses 2 is partly confirmed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514350" indent="-51435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ESG performance makes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significant positive impact on Market Capitalization and Tobin’s Q 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of Russian non-financial companies.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ypotheses 3 is mostly confirmed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514350" indent="-51435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Social performance seems to be more significant for Russian companies than Environmental one, which can be explained by more significant effects of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Occupational Health and Safety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Social Impacts on Communities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Talent Attraction and Retention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indicators on Russian companies.</a:t>
            </a:r>
          </a:p>
          <a:p>
            <a:pPr marL="514350" indent="-51435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Further study is necessary to compare these results with other emerging countries, for example, BRICS countries.</a:t>
            </a:r>
          </a:p>
          <a:p>
            <a:pPr marL="514350" indent="-51435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endParaRPr lang="ru-RU" sz="32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9410764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Телефон.: +Х (ХХХ) ХХХ ХХХХ"/>
          <p:cNvSpPr txBox="1"/>
          <p:nvPr/>
        </p:nvSpPr>
        <p:spPr>
          <a:xfrm>
            <a:off x="0" y="7197399"/>
            <a:ext cx="24384000" cy="9137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1437" tIns="71437" rIns="71437" bIns="71437" anchor="ctr">
            <a:spAutoFit/>
          </a:bodyPr>
          <a:lstStyle>
            <a:lvl1pPr algn="l" defTabSz="642937">
              <a:defRPr sz="2400">
                <a:solidFill>
                  <a:srgbClr val="FFFFFF"/>
                </a:solidFill>
                <a:latin typeface="+mn-lt"/>
                <a:ea typeface="+mn-ea"/>
                <a:cs typeface="+mn-cs"/>
                <a:sym typeface="Arial Narrow"/>
              </a:defRPr>
            </a:lvl1pPr>
          </a:lstStyle>
          <a:p>
            <a:pPr algn="ctr"/>
            <a:r>
              <a:rPr lang="en-US" sz="50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ank you for attention!</a:t>
            </a:r>
            <a:endParaRPr sz="50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Изображение" descr="Изображение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097107" y="756139"/>
            <a:ext cx="6189785" cy="6224953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" descr="Изображение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06855" y="1330739"/>
            <a:ext cx="2166348" cy="279280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Прямоугольник 2"/>
          <p:cNvSpPr/>
          <p:nvPr/>
        </p:nvSpPr>
        <p:spPr>
          <a:xfrm>
            <a:off x="5328139" y="0"/>
            <a:ext cx="1869244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53957"/>
                </a:solidFill>
                <a:latin typeface="Times New Roman" pitchFamily="18" charset="0"/>
                <a:cs typeface="Times New Roman" pitchFamily="18" charset="0"/>
              </a:rPr>
              <a:t>Relevance</a:t>
            </a:r>
            <a:endParaRPr lang="en-US" dirty="0">
              <a:solidFill>
                <a:srgbClr val="25395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57800" y="9123136"/>
            <a:ext cx="19126200" cy="470898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indent="-342900" algn="just">
              <a:lnSpc>
                <a:spcPct val="200000"/>
              </a:lnSpc>
              <a:buFont typeface="Wingdings" pitchFamily="2" charset="2"/>
              <a:buChar char="Ø"/>
            </a:pPr>
            <a:r>
              <a:rPr lang="en-US" sz="30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Enhancing interest </a:t>
            </a: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mong scientists, especially in the last decade</a:t>
            </a:r>
            <a:endParaRPr lang="ru-RU" sz="30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lnSpc>
                <a:spcPct val="200000"/>
              </a:lnSpc>
              <a:buFont typeface="Wingdings" pitchFamily="2" charset="2"/>
              <a:buChar char="Ø"/>
            </a:pP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ncreasing ESG factors’ role in making </a:t>
            </a:r>
            <a:r>
              <a:rPr lang="en-US" sz="30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financial and strategic decisions</a:t>
            </a:r>
          </a:p>
          <a:p>
            <a:pPr marL="342900" indent="-342900" algn="just">
              <a:lnSpc>
                <a:spcPct val="200000"/>
              </a:lnSpc>
              <a:buFont typeface="Wingdings" pitchFamily="2" charset="2"/>
              <a:buChar char="Ø"/>
            </a:pPr>
            <a:r>
              <a:rPr lang="en-US" sz="30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Growing environmental and social concerns </a:t>
            </a: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within the society</a:t>
            </a:r>
            <a:endParaRPr lang="ru-RU" sz="30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lnSpc>
                <a:spcPct val="200000"/>
              </a:lnSpc>
              <a:buFont typeface="Wingdings" pitchFamily="2" charset="2"/>
              <a:buChar char="Ø"/>
            </a:pP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ncreasing importance </a:t>
            </a:r>
            <a:r>
              <a:rPr lang="en-US" sz="30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of ESG disclosure </a:t>
            </a: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nd practices for </a:t>
            </a:r>
            <a:r>
              <a:rPr lang="en-US" sz="30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nstitutional investors</a:t>
            </a:r>
          </a:p>
          <a:p>
            <a:pPr marL="342900" indent="-342900" algn="just">
              <a:lnSpc>
                <a:spcPct val="200000"/>
              </a:lnSpc>
              <a:buFont typeface="Wingdings" pitchFamily="2" charset="2"/>
              <a:buChar char="Ø"/>
            </a:pPr>
            <a:r>
              <a:rPr lang="en-US" sz="30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Tougher institutional regulations </a:t>
            </a: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n the US, EU and some emerging countrie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57801" y="7710666"/>
            <a:ext cx="9258299" cy="15292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Bloomberg L.P. and IMF calculations. URL: </a:t>
            </a: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https://blogs.imf.org/2019/10/10/connecting-the-dots-between-sustainable-finance-and-financial-stability/</a:t>
            </a: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30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2092677663"/>
              </p:ext>
            </p:extLst>
          </p:nvPr>
        </p:nvGraphicFramePr>
        <p:xfrm>
          <a:off x="5257802" y="861775"/>
          <a:ext cx="9258298" cy="684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3198940"/>
              </p:ext>
            </p:extLst>
          </p:nvPr>
        </p:nvGraphicFramePr>
        <p:xfrm>
          <a:off x="14516100" y="861774"/>
          <a:ext cx="9867900" cy="6848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4516099" y="7941498"/>
            <a:ext cx="9867901" cy="10675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Authors’ calculations based on Scopus data. URL: </a:t>
            </a: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https://www.scopus.com/home.uri</a:t>
            </a:r>
            <a:r>
              <a:rPr lang="en-US" sz="30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30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65318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8635507"/>
              </p:ext>
            </p:extLst>
          </p:nvPr>
        </p:nvGraphicFramePr>
        <p:xfrm>
          <a:off x="0" y="819152"/>
          <a:ext cx="24384001" cy="128464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39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927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009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963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74232">
                <a:tc>
                  <a:txBody>
                    <a:bodyPr/>
                    <a:lstStyle/>
                    <a:p>
                      <a:r>
                        <a:rPr lang="en-US" sz="3500" dirty="0"/>
                        <a:t>Authors</a:t>
                      </a:r>
                      <a:endParaRPr lang="ru-RU" sz="3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500" dirty="0"/>
                        <a:t>Approaches</a:t>
                      </a:r>
                      <a:endParaRPr lang="ru-RU" sz="3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500" dirty="0"/>
                        <a:t>Samples</a:t>
                      </a:r>
                      <a:endParaRPr lang="ru-RU" sz="3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500" dirty="0"/>
                        <a:t>Key Results</a:t>
                      </a:r>
                      <a:endParaRPr lang="ru-RU" sz="35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07028">
                <a:tc>
                  <a:txBody>
                    <a:bodyPr/>
                    <a:lstStyle/>
                    <a:p>
                      <a:pPr marL="0" marR="0" lvl="0" indent="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300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en-US" sz="3000" kern="1200" dirty="0" err="1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Friede</a:t>
                      </a:r>
                      <a:r>
                        <a:rPr lang="en-US" sz="3000" kern="1200" baseline="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et al.</a:t>
                      </a:r>
                      <a:r>
                        <a:rPr lang="en-US" sz="3000" i="0" kern="0" baseline="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(2015)</a:t>
                      </a:r>
                    </a:p>
                    <a:p>
                      <a:pPr marL="0" marR="0" lvl="0" indent="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Widyawatti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19)</a:t>
                      </a:r>
                    </a:p>
                    <a:p>
                      <a:pPr marL="0" marR="0" lvl="0" indent="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onenc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&amp;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Piselli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20)</a:t>
                      </a:r>
                    </a:p>
                    <a:p>
                      <a:pPr marL="0" marR="0" lvl="0" indent="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Daugaard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D. (2020)</a:t>
                      </a:r>
                      <a:endParaRPr lang="ru-RU" sz="3000" b="0" i="1" u="none" strike="noStrike" kern="1200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  <a:p>
                      <a:pPr algn="just"/>
                      <a:endParaRPr lang="ru-RU" sz="3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Literature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Reviews using meta-analysis and/or textual analysis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dirty="0">
                          <a:latin typeface="Times New Roman" pitchFamily="18" charset="0"/>
                          <a:cs typeface="Times New Roman" pitchFamily="18" charset="0"/>
                        </a:rPr>
                        <a:t> 2 200 empirical articles from 1970 to 2015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dirty="0">
                          <a:latin typeface="Times New Roman" pitchFamily="18" charset="0"/>
                          <a:cs typeface="Times New Roman" pitchFamily="18" charset="0"/>
                        </a:rPr>
                        <a:t> 429 articles</a:t>
                      </a: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from Web of Science from 1979 to 2016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Growing number of articles dedicated to ESG after 2002,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peaking in 2014 and 2016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year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Almost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50% of studies confirm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significant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positive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impact of ESG investments on financial performance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S-factor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, or Socially responsible investments as the most popular theme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“Socially responsible investing” as the most popular key-word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Increasing ESG importance due to growing number of investors concerned with it</a:t>
                      </a:r>
                      <a:endParaRPr lang="ru-RU" sz="26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5938"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3000" dirty="0"/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Bertolotti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20)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Grewal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&amp;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Serafeim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20)</a:t>
                      </a:r>
                      <a:endParaRPr lang="ru-RU" sz="3000" b="0" i="0" u="none" strike="noStrike" kern="0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Descriptive statistic analysis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MSCI companies from 2013 to 2019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Over 400 articles on Corporate Social Responsibility (CSR) and Sustain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97% of MSCI companies participate in ESG rating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Companies preparing Sustainability reports grew up from 20 (early 1990s) to 10 000 by now</a:t>
                      </a:r>
                      <a:endParaRPr lang="ru-RU" sz="26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185275"/>
                  </a:ext>
                </a:extLst>
              </a:tr>
              <a:tr h="4769299"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Henisz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14) 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Bolton &amp;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Kacperczyk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19)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Ginglinger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&amp;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Moreqau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19)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Lattanzio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&amp;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Litov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19)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hemmanur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20)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hoi</a:t>
                      </a: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20)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3000" b="0" i="0" u="none" strike="noStrike" kern="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Roy et al. (2020)</a:t>
                      </a:r>
                      <a:endParaRPr lang="ru-RU" sz="3000" b="0" i="0" u="none" strike="noStrike" kern="0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Panel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data econometric analysis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19 public gold-mining companies from 1993 to 2008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3 421 </a:t>
                      </a: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US companies from 2005 to 2017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1 212 MSCI World Index companies from 2010 to 2018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985 US companies from 2002 to 2014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2 622 US companies from 2000 to 2013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4 168 public Indian companies from 2012 to 2017 yea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8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Stakeholders’ support enhances market evaluation of companie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Large companies tend to reduce CO2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emissions in order to improve reputation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Higher Cost of Capital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for companies with higher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Environmental risk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CSR investment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mitigates companies’ risk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SG enhances investment attractiveness for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institutional and foreign investors</a:t>
                      </a:r>
                      <a:endParaRPr lang="ru-RU" sz="26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" y="0"/>
            <a:ext cx="24384000" cy="9137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Times New Roman" pitchFamily="18" charset="0"/>
                <a:cs typeface="Times New Roman" pitchFamily="18" charset="0"/>
                <a:sym typeface="Helvetica Light"/>
              </a:rPr>
              <a:t>ESG as a determinant</a:t>
            </a:r>
            <a:r>
              <a:rPr kumimoji="0" lang="en-US" sz="5000" b="1" i="0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Times New Roman" pitchFamily="18" charset="0"/>
                <a:cs typeface="Times New Roman" pitchFamily="18" charset="0"/>
                <a:sym typeface="Helvetica Light"/>
              </a:rPr>
              <a:t> of Corporate Financial Performance</a:t>
            </a:r>
            <a:endParaRPr kumimoji="0" lang="ru-RU" sz="5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Times New Roman" pitchFamily="18" charset="0"/>
              <a:cs typeface="Times New Roman" pitchFamily="18" charset="0"/>
              <a:sym typeface="Helvetica Light"/>
            </a:endParaRPr>
          </a:p>
        </p:txBody>
      </p:sp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816704"/>
              </p:ext>
            </p:extLst>
          </p:nvPr>
        </p:nvGraphicFramePr>
        <p:xfrm>
          <a:off x="0" y="913712"/>
          <a:ext cx="24384001" cy="128022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39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976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05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868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01111">
                <a:tc>
                  <a:txBody>
                    <a:bodyPr/>
                    <a:lstStyle/>
                    <a:p>
                      <a:r>
                        <a:rPr lang="en-US" sz="3500" dirty="0"/>
                        <a:t>Authors</a:t>
                      </a:r>
                      <a:endParaRPr lang="ru-RU" sz="3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500" dirty="0"/>
                        <a:t>Approaches</a:t>
                      </a:r>
                      <a:endParaRPr lang="ru-RU" sz="3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500" dirty="0"/>
                        <a:t>Samples</a:t>
                      </a:r>
                      <a:endParaRPr lang="ru-RU" sz="3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500" dirty="0"/>
                        <a:t>Key Results</a:t>
                      </a:r>
                      <a:endParaRPr lang="ru-RU" sz="35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0853">
                <a:tc>
                  <a:txBody>
                    <a:bodyPr/>
                    <a:lstStyle/>
                    <a:p>
                      <a:pPr marL="0" marR="0" lvl="0" indent="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300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Kim et al. (2014)</a:t>
                      </a:r>
                    </a:p>
                    <a:p>
                      <a:pPr marL="0" marR="0" lvl="0" indent="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3000" b="0" i="1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Huynh (2018)</a:t>
                      </a:r>
                      <a:endParaRPr lang="ru-RU" sz="3000" b="0" i="1" u="none" strike="noStrike" kern="1200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  <a:p>
                      <a:pPr algn="just">
                        <a:lnSpc>
                          <a:spcPct val="150000"/>
                        </a:lnSpc>
                      </a:pPr>
                      <a:endParaRPr lang="ru-RU" sz="3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Panel regressions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of stock prices’ performance / corporate financial performance from ESG factors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dirty="0">
                          <a:latin typeface="Times New Roman" pitchFamily="18" charset="0"/>
                          <a:cs typeface="Times New Roman" pitchFamily="18" charset="0"/>
                        </a:rPr>
                        <a:t> 12 978 observations in</a:t>
                      </a: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the US from 1995 to 2009</a:t>
                      </a:r>
                      <a:endParaRPr lang="en-US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endParaRPr lang="en-US" sz="2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dirty="0">
                          <a:latin typeface="Times New Roman" pitchFamily="18" charset="0"/>
                          <a:cs typeface="Times New Roman" pitchFamily="18" charset="0"/>
                        </a:rPr>
                        <a:t> 50 biggest</a:t>
                      </a: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public </a:t>
                      </a:r>
                      <a:r>
                        <a:rPr lang="en-US" sz="2800" dirty="0">
                          <a:latin typeface="Times New Roman" pitchFamily="18" charset="0"/>
                          <a:cs typeface="Times New Roman" pitchFamily="18" charset="0"/>
                        </a:rPr>
                        <a:t>companies from Vietnam</a:t>
                      </a:r>
                      <a:endParaRPr lang="en-US" sz="2800" baseline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ESG as a disciplining factor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for top-management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Mitigating role of ESG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for company in case of financial distresse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At the same time,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increased agency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risk in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poorly governed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ompanies</a:t>
                      </a:r>
                      <a:endParaRPr lang="ru-RU" sz="26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20323">
                <a:tc>
                  <a:txBody>
                    <a:bodyPr/>
                    <a:lstStyle/>
                    <a:p>
                      <a:pPr marL="457200" indent="-457200" algn="just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Klettner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14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Muttakin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&amp; </a:t>
                      </a: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Subramaniam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15)</a:t>
                      </a:r>
                    </a:p>
                    <a:p>
                      <a:pPr marL="457200" indent="-457200" algn="just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Kruger (2015)</a:t>
                      </a:r>
                    </a:p>
                    <a:p>
                      <a:pPr marL="457200" indent="-457200" algn="just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Jain, </a:t>
                      </a: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Jamali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16)</a:t>
                      </a:r>
                    </a:p>
                    <a:p>
                      <a:pPr marL="457200" indent="-457200" algn="just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arini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17)</a:t>
                      </a:r>
                    </a:p>
                    <a:p>
                      <a:pPr marL="457200" indent="-457200" algn="just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Gupta et al. (2017)</a:t>
                      </a:r>
                      <a:endParaRPr lang="ru-RU" sz="3000" b="0" i="0" u="none" strike="noStrike" kern="1200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  <a:p>
                      <a:pPr marL="457200" indent="-457200" algn="just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Bae et al. (2018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Li et al. (2018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Mun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18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8215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Panel regressions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of corporate ESG indicators from CEOs’ characteristics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 100 largest Indian public companies from 2007 to 2011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88 public companies from India, Bangladesh, Pakistan from 2009 to 2016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367 public companies from the UK from 2004 to 2013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643 Korean companies from 2005 to 2016 yea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EO’s power is negatively associated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with corporate ESG practice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Indicators of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high CEO power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: participation/chairmanship in Board of Directors, significant share in ownership, high CEO remuneration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EO’s personal commitment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enhances positive impact of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ESG on corporate performance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, while in other cases CEO’s power negatively influences ESG practice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Higher CEO’s education improves performance, while major specialization has contradicting effect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EO Experience and Liberal political views enhance ESG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Foreign and institutional investors lead to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better ESG disclosure</a:t>
                      </a:r>
                    </a:p>
                    <a:p>
                      <a:pPr marL="0" marR="0" lvl="0" indent="-228600" algn="just" defTabSz="4572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Companies with better Governance implement ESG practices proactive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185275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" y="0"/>
            <a:ext cx="24384000" cy="9137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Times New Roman" pitchFamily="18" charset="0"/>
                <a:cs typeface="Times New Roman" pitchFamily="18" charset="0"/>
                <a:sym typeface="Helvetica Light"/>
              </a:rPr>
              <a:t>CEO Characteristics and </a:t>
            </a:r>
            <a:r>
              <a:rPr kumimoji="0" lang="en-US" sz="5000" b="1" i="0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Times New Roman" pitchFamily="18" charset="0"/>
                <a:cs typeface="Times New Roman" pitchFamily="18" charset="0"/>
                <a:sym typeface="Helvetica Light"/>
              </a:rPr>
              <a:t>ESG</a:t>
            </a:r>
            <a:endParaRPr kumimoji="0" lang="ru-RU" sz="5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Times New Roman" pitchFamily="18" charset="0"/>
              <a:cs typeface="Times New Roman" pitchFamily="18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7478243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8656946"/>
              </p:ext>
            </p:extLst>
          </p:nvPr>
        </p:nvGraphicFramePr>
        <p:xfrm>
          <a:off x="0" y="1047062"/>
          <a:ext cx="24384001" cy="126689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939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976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05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868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36431">
                <a:tc>
                  <a:txBody>
                    <a:bodyPr/>
                    <a:lstStyle/>
                    <a:p>
                      <a:r>
                        <a:rPr lang="en-US" sz="3500" dirty="0"/>
                        <a:t>Authors</a:t>
                      </a:r>
                      <a:endParaRPr lang="ru-RU" sz="3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500" dirty="0"/>
                        <a:t>Approaches</a:t>
                      </a:r>
                      <a:endParaRPr lang="ru-RU" sz="3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500" dirty="0"/>
                        <a:t>Samples</a:t>
                      </a:r>
                      <a:endParaRPr lang="ru-RU" sz="35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500" dirty="0"/>
                        <a:t>Key Results</a:t>
                      </a:r>
                      <a:endParaRPr lang="ru-RU" sz="35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29952">
                <a:tc>
                  <a:txBody>
                    <a:bodyPr/>
                    <a:lstStyle/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Shaukat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15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Ferrel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16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Shukat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16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Hong et al. (2016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Galbreath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17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Haque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17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ucari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18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3000" b="0" i="0" u="none" strike="noStrike" kern="1200" cap="none" spc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Panel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regressions of corporate ESG indicators from Board of Directors characteristics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MSCI companie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Over 300 UK companies from 2002 to 2010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256 non-financial UK companies from 2002 to 2014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300 Australian companies in 2012 year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54 Italian public companies from 2011 to 2014 yea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ru-RU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Companies with better Governance implement ESG practices proactively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“Better governance”: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Board independence, specialized committees, lower CEO power, high level of shareholders’ rights protection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The link is self-reinforcing (better ESG performance </a:t>
                      </a:r>
                      <a:r>
                        <a:rPr lang="ru-RU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Wingdings" panose="05000000000000000000" pitchFamily="2" charset="2"/>
                        </a:rPr>
                        <a:t> Board CSR orientation)</a:t>
                      </a:r>
                      <a:endParaRPr lang="en-US" sz="26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  <a:sym typeface="Helvetica Light"/>
                      </a:endParaRP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Board independence, expertise and attitude to ESG can mitigate consequences of executives’ focus on short-term perspective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Such characteristics enhance positive ESG impact on financial performance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“Insiders” in Board of Directors lead to poorer ESG performance, ESG-linked compensation and trainings mitigate this eff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9668257"/>
                  </a:ext>
                </a:extLst>
              </a:tr>
              <a:tr h="5102555">
                <a:tc>
                  <a:txBody>
                    <a:bodyPr/>
                    <a:lstStyle/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Fasan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&amp; Mio (2017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Kilic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, </a:t>
                      </a: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Kuzey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(2018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Garcia-Sanchez et al. (2019)</a:t>
                      </a:r>
                    </a:p>
                    <a:p>
                      <a:pPr marL="457200" marR="0" lvl="0" indent="-457200" algn="just" defTabSz="82153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3000" b="0" i="0" u="none" strike="noStrike" kern="1200" cap="none" spc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Vitolla</a:t>
                      </a:r>
                      <a:r>
                        <a:rPr lang="en-US" sz="3000" b="0" i="0" u="none" strike="noStrike" kern="1200" cap="none" spc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et al. (2020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Panel regressions of ESG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Integrated Reporting (IR) form Board of Directors Characteristics</a:t>
                      </a:r>
                    </a:p>
                    <a:p>
                      <a:endParaRPr lang="en-US" sz="3000" baseline="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Textual analysis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65 companies from 2012 to 2013 years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55 non-financial companies from Reporting Example Database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134 international companies with IR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en-US" sz="2800" baseline="0" dirty="0">
                          <a:latin typeface="Times New Roman" pitchFamily="18" charset="0"/>
                          <a:cs typeface="Times New Roman" pitchFamily="18" charset="0"/>
                        </a:rPr>
                        <a:t> 956 companies from 31 stock indices from 2006 to 20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Board size and diversity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enhance ESG Integrated reporting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IR varies by industries due to different public expectations and stakeholders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Board independence also enhances IR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IR helps to reduce agency conflict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Board power and higher level of investors’ protection lead to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higher levels of transparency</a:t>
                      </a:r>
                    </a:p>
                    <a:p>
                      <a:pPr marL="0" indent="-228600" algn="just" defTabSz="457200" rtl="0" eaLnBrk="1" latinLnBrk="0" hangingPunct="1">
                        <a:lnSpc>
                          <a:spcPct val="120000"/>
                        </a:lnSpc>
                        <a:buFont typeface="Wingdings" pitchFamily="2" charset="2"/>
                        <a:buChar char="ü"/>
                      </a:pPr>
                      <a:r>
                        <a:rPr lang="en-US" sz="26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 Stronger Board </a:t>
                      </a:r>
                      <a:r>
                        <a:rPr lang="en-US" sz="2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Helvetica Light"/>
                        </a:rPr>
                        <a:t>mitigates managers’ propensity to opportunistic behavi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507915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" y="0"/>
            <a:ext cx="24384000" cy="9137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Times New Roman" pitchFamily="18" charset="0"/>
                <a:cs typeface="Times New Roman" pitchFamily="18" charset="0"/>
                <a:sym typeface="Helvetica Light"/>
              </a:rPr>
              <a:t>Board of Directors Characteristics and </a:t>
            </a:r>
            <a:r>
              <a:rPr kumimoji="0" lang="en-US" sz="5000" b="1" i="0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Times New Roman" pitchFamily="18" charset="0"/>
                <a:cs typeface="Times New Roman" pitchFamily="18" charset="0"/>
                <a:sym typeface="Helvetica Light"/>
              </a:rPr>
              <a:t>ESG</a:t>
            </a:r>
            <a:endParaRPr kumimoji="0" lang="ru-RU" sz="5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Times New Roman" pitchFamily="18" charset="0"/>
              <a:cs typeface="Times New Roman" pitchFamily="18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630311348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" descr="Изображение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06855" y="1330739"/>
            <a:ext cx="2166348" cy="279280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Прямоугольник 2"/>
          <p:cNvSpPr/>
          <p:nvPr/>
        </p:nvSpPr>
        <p:spPr>
          <a:xfrm>
            <a:off x="5345724" y="0"/>
            <a:ext cx="1867485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53957"/>
                </a:solidFill>
                <a:latin typeface="Times New Roman" pitchFamily="18" charset="0"/>
                <a:cs typeface="Times New Roman" pitchFamily="18" charset="0"/>
              </a:rPr>
              <a:t>Hypotheses</a:t>
            </a:r>
            <a:endParaRPr lang="en-US" dirty="0">
              <a:solidFill>
                <a:srgbClr val="25395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263295" y="1330739"/>
            <a:ext cx="18839716" cy="10587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</a:pP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. </a:t>
            </a:r>
            <a:r>
              <a:rPr lang="ru-RU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EO Age, Tenure, previous experience in Civil Service and on CEO position </a:t>
            </a: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positively affect 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orporate ESG score;</a:t>
            </a:r>
          </a:p>
          <a:p>
            <a:pPr algn="just">
              <a:lnSpc>
                <a:spcPct val="200000"/>
              </a:lnSpc>
            </a:pP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. 1.2 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igher CEO Educational level, as well as education in Economics, Finance, and Management </a:t>
            </a: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enhance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corporate ESG score;</a:t>
            </a:r>
          </a:p>
          <a:p>
            <a:pPr algn="just">
              <a:lnSpc>
                <a:spcPct val="200000"/>
              </a:lnSpc>
            </a:pP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. 1.3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CEO’s membership in Board of Directors </a:t>
            </a: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negatively affects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corporate ESG score.</a:t>
            </a:r>
          </a:p>
          <a:p>
            <a:pPr algn="just">
              <a:lnSpc>
                <a:spcPct val="200000"/>
              </a:lnSpc>
            </a:pPr>
            <a:endParaRPr lang="ru-RU" sz="3100" b="1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200000"/>
              </a:lnSpc>
            </a:pP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. 2.1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Board Size, National Diversity and Independence </a:t>
            </a: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lead to higher 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corporate ESG score;</a:t>
            </a:r>
          </a:p>
          <a:p>
            <a:pPr algn="just">
              <a:lnSpc>
                <a:spcPct val="200000"/>
              </a:lnSpc>
            </a:pP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. 2.2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Higher number of Directors with Financial Expertise </a:t>
            </a: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boosts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corporate ESG score;</a:t>
            </a:r>
          </a:p>
          <a:p>
            <a:pPr algn="just">
              <a:lnSpc>
                <a:spcPct val="200000"/>
              </a:lnSpc>
            </a:pP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. 2.3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Strategy Committee and specialized ESG Committee existence </a:t>
            </a: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tends to improve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corporate ESG score.</a:t>
            </a:r>
          </a:p>
          <a:p>
            <a:pPr algn="just">
              <a:lnSpc>
                <a:spcPct val="200000"/>
              </a:lnSpc>
            </a:pPr>
            <a:endParaRPr lang="ru-RU" sz="3100" b="1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200000"/>
              </a:lnSpc>
            </a:pP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H. </a:t>
            </a:r>
            <a:r>
              <a:rPr lang="ru-RU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ESG score improvement makes </a:t>
            </a:r>
            <a:r>
              <a:rPr lang="en-US" sz="3100" b="1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positive</a:t>
            </a:r>
            <a:r>
              <a:rPr lang="en-US" sz="31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impact on Corporate Financial Performance.</a:t>
            </a:r>
            <a:endParaRPr lang="ru-RU" sz="31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3962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" descr="Изображение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06855" y="1330739"/>
            <a:ext cx="2166348" cy="279280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Прямоугольник 2"/>
          <p:cNvSpPr/>
          <p:nvPr/>
        </p:nvSpPr>
        <p:spPr>
          <a:xfrm>
            <a:off x="5380891" y="208810"/>
            <a:ext cx="1863969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53957"/>
                </a:solidFill>
                <a:latin typeface="Times New Roman" pitchFamily="18" charset="0"/>
                <a:cs typeface="Times New Roman" pitchFamily="18" charset="0"/>
              </a:rPr>
              <a:t>Model Description</a:t>
            </a:r>
            <a:endParaRPr lang="en-US" dirty="0">
              <a:solidFill>
                <a:srgbClr val="25395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956644"/>
              </p:ext>
            </p:extLst>
          </p:nvPr>
        </p:nvGraphicFramePr>
        <p:xfrm>
          <a:off x="5200650" y="3771899"/>
          <a:ext cx="19183350" cy="994410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5573029">
                  <a:extLst>
                    <a:ext uri="{9D8B030D-6E8A-4147-A177-3AD203B41FA5}">
                      <a16:colId xmlns:a16="http://schemas.microsoft.com/office/drawing/2014/main" val="2233567666"/>
                    </a:ext>
                  </a:extLst>
                </a:gridCol>
                <a:gridCol w="13610321">
                  <a:extLst>
                    <a:ext uri="{9D8B030D-6E8A-4147-A177-3AD203B41FA5}">
                      <a16:colId xmlns:a16="http://schemas.microsoft.com/office/drawing/2014/main" val="1930105186"/>
                    </a:ext>
                  </a:extLst>
                </a:gridCol>
              </a:tblGrid>
              <a:tr h="1258596">
                <a:tc>
                  <a:txBody>
                    <a:bodyPr/>
                    <a:lstStyle/>
                    <a:p>
                      <a:pPr algn="ctr"/>
                      <a:r>
                        <a:rPr lang="en-US" sz="3500" dirty="0">
                          <a:solidFill>
                            <a:schemeClr val="bg1"/>
                          </a:solidFill>
                        </a:rPr>
                        <a:t>Parameter</a:t>
                      </a:r>
                      <a:endParaRPr lang="ru-RU" sz="35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25395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500" dirty="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ru-RU" sz="35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solidFill>
                      <a:srgbClr val="2539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188399"/>
                  </a:ext>
                </a:extLst>
              </a:tr>
              <a:tr h="1305570"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 err="1">
                          <a:latin typeface="Times New Roman" pitchFamily="18" charset="0"/>
                          <a:cs typeface="Times New Roman" pitchFamily="18" charset="0"/>
                        </a:rPr>
                        <a:t>FinPERF</a:t>
                      </a:r>
                      <a:r>
                        <a:rPr lang="en-US" sz="2000" b="1" dirty="0" err="1">
                          <a:latin typeface="Times New Roman" pitchFamily="18" charset="0"/>
                          <a:cs typeface="Times New Roman" pitchFamily="18" charset="0"/>
                        </a:rPr>
                        <a:t>it</a:t>
                      </a:r>
                      <a:endParaRPr lang="ru-RU" sz="20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Corporate Financial Performance indicators: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Tobin’s Q, 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Market Capitalization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36238025"/>
                  </a:ext>
                </a:extLst>
              </a:tr>
              <a:tr h="1221417"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 err="1">
                          <a:latin typeface="Times New Roman" pitchFamily="18" charset="0"/>
                          <a:cs typeface="Times New Roman" pitchFamily="18" charset="0"/>
                        </a:rPr>
                        <a:t>ESG_Participation</a:t>
                      </a:r>
                      <a:r>
                        <a:rPr lang="en-US" sz="2000" b="1" dirty="0" err="1">
                          <a:latin typeface="Times New Roman" pitchFamily="18" charset="0"/>
                          <a:cs typeface="Times New Roman" pitchFamily="18" charset="0"/>
                        </a:rPr>
                        <a:t>it</a:t>
                      </a:r>
                      <a:endParaRPr lang="ru-RU" sz="3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Company’s participation in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S&amp;P Market Intelligence ESG Rating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01789882"/>
                  </a:ext>
                </a:extLst>
              </a:tr>
              <a:tr h="1221417"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 err="1">
                          <a:latin typeface="Times New Roman" pitchFamily="18" charset="0"/>
                          <a:cs typeface="Times New Roman" pitchFamily="18" charset="0"/>
                        </a:rPr>
                        <a:t>ESG_Score</a:t>
                      </a:r>
                      <a:r>
                        <a:rPr lang="en-US" sz="2000" b="1" dirty="0" err="1">
                          <a:latin typeface="Times New Roman" pitchFamily="18" charset="0"/>
                          <a:cs typeface="Times New Roman" pitchFamily="18" charset="0"/>
                        </a:rPr>
                        <a:t>it</a:t>
                      </a:r>
                      <a:endParaRPr lang="ru-RU" sz="3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Company’s score in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S&amp;P Market Intelligence ESG Rating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25216504"/>
                  </a:ext>
                </a:extLst>
              </a:tr>
              <a:tr h="1645700">
                <a:tc>
                  <a:txBody>
                    <a:bodyPr/>
                    <a:lstStyle/>
                    <a:p>
                      <a:pPr algn="ctr"/>
                      <a:r>
                        <a:rPr lang="en-US" sz="3000" b="1" kern="1200" dirty="0" err="1">
                          <a:latin typeface="Times New Roman" pitchFamily="18" charset="0"/>
                          <a:cs typeface="Times New Roman" pitchFamily="18" charset="0"/>
                        </a:rPr>
                        <a:t>CEO</a:t>
                      </a:r>
                      <a:r>
                        <a:rPr lang="en-US" sz="3000" b="1" kern="12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_Characteristics</a:t>
                      </a:r>
                      <a:r>
                        <a:rPr lang="en-US" sz="2000" b="1" kern="1200" dirty="0" err="1">
                          <a:latin typeface="Times New Roman" pitchFamily="18" charset="0"/>
                          <a:cs typeface="Times New Roman" pitchFamily="18" charset="0"/>
                        </a:rPr>
                        <a:t>it</a:t>
                      </a:r>
                      <a:endParaRPr lang="ru-RU" sz="2000" b="1" kern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CEO Age (years), CEO Tenure (years), CEO Educational Level, CEO Previous Civil Service Experience (dummy), CEO Previous Experience (years), CEO’s membership in Board of Directors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90972426"/>
                  </a:ext>
                </a:extLst>
              </a:tr>
              <a:tr h="1645700"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 err="1">
                          <a:latin typeface="Times New Roman" pitchFamily="18" charset="0"/>
                          <a:cs typeface="Times New Roman" pitchFamily="18" charset="0"/>
                        </a:rPr>
                        <a:t>BoD_Characteristics</a:t>
                      </a:r>
                      <a:r>
                        <a:rPr lang="en-US" sz="2000" b="1" dirty="0" err="1">
                          <a:latin typeface="Times New Roman" pitchFamily="18" charset="0"/>
                          <a:cs typeface="Times New Roman" pitchFamily="18" charset="0"/>
                        </a:rPr>
                        <a:t>it</a:t>
                      </a:r>
                      <a:endParaRPr lang="ru-RU" sz="30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Board Size (persons), Number of Independent Directors, Directors-expatriates, Directors with Financial expertise, existence of Strategy Committee and ESG Committee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2647904"/>
                  </a:ext>
                </a:extLst>
              </a:tr>
              <a:tr h="1645700">
                <a:tc>
                  <a:txBody>
                    <a:bodyPr/>
                    <a:lstStyle/>
                    <a:p>
                      <a:pPr algn="ctr"/>
                      <a:r>
                        <a:rPr lang="en-US" sz="3000" b="1" dirty="0" err="1">
                          <a:latin typeface="Times New Roman" pitchFamily="18" charset="0"/>
                          <a:cs typeface="Times New Roman" pitchFamily="18" charset="0"/>
                        </a:rPr>
                        <a:t>Controls</a:t>
                      </a:r>
                      <a:r>
                        <a:rPr lang="en-US" sz="2000" b="1" dirty="0" err="1">
                          <a:latin typeface="Times New Roman" pitchFamily="18" charset="0"/>
                          <a:cs typeface="Times New Roman" pitchFamily="18" charset="0"/>
                        </a:rPr>
                        <a:t>it</a:t>
                      </a:r>
                      <a:endParaRPr lang="ru-RU" sz="30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3000" dirty="0">
                          <a:latin typeface="Times New Roman" pitchFamily="18" charset="0"/>
                          <a:cs typeface="Times New Roman" pitchFamily="18" charset="0"/>
                        </a:rPr>
                        <a:t>Revenue,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 Assets, EBITDA margin, Debt Level, </a:t>
                      </a:r>
                      <a:r>
                        <a:rPr lang="en-US" sz="30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NetCAPEX</a:t>
                      </a:r>
                      <a:r>
                        <a:rPr lang="ru-RU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en-US" sz="3000" baseline="0" dirty="0">
                          <a:latin typeface="Times New Roman" pitchFamily="18" charset="0"/>
                          <a:cs typeface="Times New Roman" pitchFamily="18" charset="0"/>
                        </a:rPr>
                        <a:t>ROA</a:t>
                      </a:r>
                      <a:endParaRPr lang="ru-RU" sz="3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77314842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0891" y="1101362"/>
            <a:ext cx="19003109" cy="249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58869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Линия"/>
          <p:cNvSpPr/>
          <p:nvPr/>
        </p:nvSpPr>
        <p:spPr>
          <a:xfrm>
            <a:off x="-45178" y="1604897"/>
            <a:ext cx="24365417" cy="35492"/>
          </a:xfrm>
          <a:prstGeom prst="line">
            <a:avLst/>
          </a:prstGeom>
          <a:ln w="12700">
            <a:solidFill>
              <a:srgbClr val="253957"/>
            </a:solidFill>
            <a:miter lim="400000"/>
          </a:ln>
        </p:spPr>
        <p:txBody>
          <a:bodyPr lIns="71437" tIns="71437" rIns="71437" bIns="71437" anchor="ctr"/>
          <a:lstStyle/>
          <a:p>
            <a:pPr>
              <a:defRPr sz="3200"/>
            </a:pPr>
            <a:endParaRPr/>
          </a:p>
        </p:txBody>
      </p:sp>
      <p:sp>
        <p:nvSpPr>
          <p:cNvPr id="59" name="Очень крутой заголовок…"/>
          <p:cNvSpPr txBox="1"/>
          <p:nvPr/>
        </p:nvSpPr>
        <p:spPr>
          <a:xfrm>
            <a:off x="2107472" y="430502"/>
            <a:ext cx="22257945" cy="12149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1437" tIns="71437" rIns="71437" bIns="71437"/>
          <a:lstStyle/>
          <a:p>
            <a:pPr algn="l">
              <a:defRPr sz="5000" b="1" cap="all">
                <a:solidFill>
                  <a:srgbClr val="253957"/>
                </a:solidFill>
                <a:latin typeface="+mn-lt"/>
                <a:ea typeface="+mn-ea"/>
                <a:cs typeface="+mn-cs"/>
                <a:sym typeface="Arial Narrow"/>
              </a:defRPr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Arial Narrow" charset="0"/>
                <a:cs typeface="Times New Roman" pitchFamily="18" charset="0"/>
              </a:rPr>
              <a:t>Sample Description</a:t>
            </a:r>
            <a:endParaRPr lang="en-US" dirty="0">
              <a:latin typeface="Times New Roman" pitchFamily="18" charset="0"/>
              <a:ea typeface="Arial Narrow" charset="0"/>
              <a:cs typeface="Times New Roman" pitchFamily="18" charset="0"/>
            </a:endParaRPr>
          </a:p>
        </p:txBody>
      </p:sp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1"/>
            <a:ext cx="1676400" cy="1599799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Rectangle 40"/>
          <p:cNvSpPr/>
          <p:nvPr/>
        </p:nvSpPr>
        <p:spPr>
          <a:xfrm>
            <a:off x="13468349" y="1828801"/>
            <a:ext cx="10851889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2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rgest Russian non-financial companies from IMOEX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eriod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1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201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years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bservations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26 observations after statistical outliers’ deletion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urces of data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&amp;P Capital IQ Market Intelligence, Bloomberg</a:t>
            </a: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1625788"/>
              </p:ext>
            </p:extLst>
          </p:nvPr>
        </p:nvGraphicFramePr>
        <p:xfrm>
          <a:off x="0" y="1828801"/>
          <a:ext cx="13468350" cy="11887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1648720159"/>
              </p:ext>
            </p:extLst>
          </p:nvPr>
        </p:nvGraphicFramePr>
        <p:xfrm>
          <a:off x="13296900" y="4875788"/>
          <a:ext cx="11087100" cy="8840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Очень крутой заголовок…"/>
          <p:cNvSpPr txBox="1"/>
          <p:nvPr/>
        </p:nvSpPr>
        <p:spPr>
          <a:xfrm>
            <a:off x="1809744" y="1"/>
            <a:ext cx="22555667" cy="8441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1437" tIns="71437" rIns="71437" bIns="71437"/>
          <a:lstStyle/>
          <a:p>
            <a:pPr algn="l">
              <a:defRPr sz="5000" b="1" cap="all">
                <a:solidFill>
                  <a:srgbClr val="253957"/>
                </a:solidFill>
                <a:latin typeface="+mn-lt"/>
                <a:ea typeface="+mn-ea"/>
                <a:cs typeface="+mn-cs"/>
                <a:sym typeface="Arial Narrow"/>
              </a:defRPr>
            </a:pPr>
            <a:r>
              <a:rPr lang="en-US" sz="46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Arial Narrow" charset="0"/>
                <a:cs typeface="Times New Roman" pitchFamily="18" charset="0"/>
              </a:rPr>
              <a:t>CEO and Boards’ “portrays” in companies with and Without ESG</a:t>
            </a:r>
            <a:endParaRPr lang="en-US" sz="4600" dirty="0">
              <a:latin typeface="Times New Roman" pitchFamily="18" charset="0"/>
              <a:ea typeface="Arial Narrow" charset="0"/>
              <a:cs typeface="Times New Roman" pitchFamily="18" charset="0"/>
            </a:endParaRPr>
          </a:p>
        </p:txBody>
      </p:sp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1"/>
            <a:ext cx="1676400" cy="1599799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Box 9"/>
          <p:cNvSpPr txBox="1"/>
          <p:nvPr/>
        </p:nvSpPr>
        <p:spPr>
          <a:xfrm>
            <a:off x="-7" y="919655"/>
            <a:ext cx="24365417" cy="621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3100" b="1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All CEO Characteristics’</a:t>
            </a:r>
            <a:r>
              <a:rPr lang="ru-RU" sz="3100" b="1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 </a:t>
            </a:r>
            <a:r>
              <a:rPr lang="en-US" sz="3100" b="1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Differences are </a:t>
            </a:r>
            <a:r>
              <a:rPr lang="en-US" sz="3100" b="1" u="sng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statistically significant</a:t>
            </a:r>
            <a:r>
              <a:rPr lang="ru-RU" sz="3100" b="1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, </a:t>
            </a:r>
            <a:r>
              <a:rPr lang="en-US" sz="3100" b="1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EXCEPT </a:t>
            </a:r>
            <a:r>
              <a:rPr lang="en-US" sz="3100" b="1" u="sng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CEO Board Membership</a:t>
            </a:r>
            <a:endParaRPr lang="ru-RU" sz="3100" b="1" u="sng" cap="all" dirty="0">
              <a:solidFill>
                <a:schemeClr val="accent1">
                  <a:lumMod val="50000"/>
                </a:schemeClr>
              </a:solidFill>
              <a:latin typeface="+mn-lt"/>
              <a:ea typeface="Arial Narrow" charset="0"/>
              <a:cs typeface="Arial Narrow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-10" y="7347545"/>
            <a:ext cx="24365420" cy="621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3100" b="1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All Board Characteristics’ differences are </a:t>
            </a:r>
            <a:r>
              <a:rPr lang="en-US" sz="3100" b="1" u="sng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statistically significant</a:t>
            </a:r>
            <a:r>
              <a:rPr lang="en-US" sz="3100" b="1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, except </a:t>
            </a:r>
            <a:r>
              <a:rPr lang="en-US" sz="3100" b="1" u="sng" cap="all" dirty="0">
                <a:solidFill>
                  <a:schemeClr val="accent1">
                    <a:lumMod val="50000"/>
                  </a:schemeClr>
                </a:solidFill>
                <a:latin typeface="+mn-lt"/>
                <a:ea typeface="Arial Narrow" charset="0"/>
                <a:cs typeface="Arial Narrow" charset="0"/>
                <a:sym typeface="Arial Narrow"/>
              </a:rPr>
              <a:t>number of directors with financial expertise </a:t>
            </a:r>
            <a:endParaRPr lang="ru-RU" sz="3100" b="1" u="sng" cap="all" dirty="0">
              <a:solidFill>
                <a:schemeClr val="accent1">
                  <a:lumMod val="50000"/>
                </a:schemeClr>
              </a:solidFill>
              <a:latin typeface="+mn-lt"/>
              <a:ea typeface="Arial Narrow" charset="0"/>
              <a:cs typeface="Arial Narrow" charset="0"/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4064557156"/>
              </p:ext>
            </p:extLst>
          </p:nvPr>
        </p:nvGraphicFramePr>
        <p:xfrm>
          <a:off x="-1" y="1610227"/>
          <a:ext cx="11639550" cy="5737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93458626"/>
              </p:ext>
            </p:extLst>
          </p:nvPr>
        </p:nvGraphicFramePr>
        <p:xfrm>
          <a:off x="11487150" y="1620656"/>
          <a:ext cx="12878262" cy="6144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3305191829"/>
              </p:ext>
            </p:extLst>
          </p:nvPr>
        </p:nvGraphicFramePr>
        <p:xfrm>
          <a:off x="-12" y="7968868"/>
          <a:ext cx="11639561" cy="5747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2604378877"/>
              </p:ext>
            </p:extLst>
          </p:nvPr>
        </p:nvGraphicFramePr>
        <p:xfrm>
          <a:off x="11639550" y="7968868"/>
          <a:ext cx="12744450" cy="5747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0331148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Arial Narrow"/>
        <a:ea typeface="Arial Narrow"/>
        <a:cs typeface="Arial Narrow"/>
      </a:minorFont>
    </a:fontScheme>
    <a:fmtScheme name="White">
      <a:fillStyleLst>
        <a:solidFill>
          <a:srgbClr val="FFFFFF"/>
        </a:solidFill>
        <a:solidFill>
          <a:srgbClr val="FFFFFF"/>
        </a:solidFill>
        <a:solidFill>
          <a:srgbClr val="FFFFFF"/>
        </a:solidFill>
      </a:fillStyleLst>
      <a:lnStyleLst>
        <a:ln>
          <a:solidFill>
            <a:srgbClr val="000000"/>
          </a:solidFill>
        </a:ln>
        <a:ln>
          <a:solidFill>
            <a:srgbClr val="000000"/>
          </a:solidFill>
        </a:ln>
        <a:ln>
          <a:solidFill>
            <a:srgbClr val="000000"/>
          </a:solidFill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635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rgbClr val="FFFFFF"/>
        </a:solidFill>
        <a:solidFill>
          <a:srgbClr val="FFFFFF"/>
        </a:solidFill>
        <a:solidFill>
          <a:srgbClr val="FFFFFF"/>
        </a:solidFill>
      </a:bgFillStyleLst>
    </a:fmtScheme>
  </a:themeElements>
  <a:objectDefaults>
    <a:spDef>
      <a:spPr>
        <a:noFill/>
        <a:ln w="57150" cap="flat">
          <a:solidFill>
            <a:srgbClr val="FF0000"/>
          </a:solidFill>
          <a:miter lim="400000"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j-lt"/>
            <a:ea typeface="+mj-ea"/>
            <a:cs typeface="+mj-cs"/>
            <a:sym typeface="Helvetica Light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Arial Narrow"/>
        <a:ea typeface="Arial Narrow"/>
        <a:cs typeface="Arial Narrow"/>
      </a:minorFont>
    </a:fontScheme>
    <a:fmtScheme name="White">
      <a:fillStyleLst>
        <a:solidFill>
          <a:srgbClr val="FFFFFF"/>
        </a:solidFill>
        <a:solidFill>
          <a:srgbClr val="FFFFFF"/>
        </a:solidFill>
        <a:solidFill>
          <a:srgbClr val="FFFFFF"/>
        </a:solidFill>
      </a:fillStyleLst>
      <a:lnStyleLst>
        <a:ln>
          <a:solidFill>
            <a:srgbClr val="000000"/>
          </a:solidFill>
        </a:ln>
        <a:ln>
          <a:solidFill>
            <a:srgbClr val="000000"/>
          </a:solidFill>
        </a:ln>
        <a:ln>
          <a:solidFill>
            <a:srgbClr val="000000"/>
          </a:solidFill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635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rgbClr val="FFFFFF"/>
        </a:solidFill>
        <a:solidFill>
          <a:srgbClr val="FFFFFF"/>
        </a:solidFill>
        <a:solidFill>
          <a:srgbClr val="FFFFFF"/>
        </a:soli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j-lt"/>
            <a:ea typeface="+mj-ea"/>
            <a:cs typeface="+mj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0B41FCAD46256643A4B894E12378877F" ma:contentTypeVersion="3" ma:contentTypeDescription="Создание документа." ma:contentTypeScope="" ma:versionID="a6df77f59287ce927e7c34ef8a26d055">
  <xsd:schema xmlns:xsd="http://www.w3.org/2001/XMLSchema" xmlns:xs="http://www.w3.org/2001/XMLSchema" xmlns:p="http://schemas.microsoft.com/office/2006/metadata/properties" xmlns:ns2="404390e8-bc0c-49e6-aa04-a860ed32c5ed" targetNamespace="http://schemas.microsoft.com/office/2006/metadata/properties" ma:root="true" ma:fieldsID="276e98c250369e9758be9db294832601" ns2:_="">
    <xsd:import namespace="404390e8-bc0c-49e6-aa04-a860ed32c5ed"/>
    <xsd:element name="properties">
      <xsd:complexType>
        <xsd:sequence>
          <xsd:element name="documentManagement">
            <xsd:complexType>
              <xsd:all>
                <xsd:element ref="ns2:ReferenceId" minOccurs="0"/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4390e8-bc0c-49e6-aa04-a860ed32c5ed" elementFormDefault="qualified">
    <xsd:import namespace="http://schemas.microsoft.com/office/2006/documentManagement/types"/>
    <xsd:import namespace="http://schemas.microsoft.com/office/infopath/2007/PartnerControls"/>
    <xsd:element name="ReferenceId" ma:index="8" nillable="true" ma:displayName="ReferenceId" ma:indexed="true" ma:internalName="ReferenceId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ferenceId xmlns="404390e8-bc0c-49e6-aa04-a860ed32c5ed" xsi:nil="true"/>
  </documentManagement>
</p:properties>
</file>

<file path=customXml/itemProps1.xml><?xml version="1.0" encoding="utf-8"?>
<ds:datastoreItem xmlns:ds="http://schemas.openxmlformats.org/officeDocument/2006/customXml" ds:itemID="{27B4916D-F2C4-4554-B33F-5E7556F238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395C115-8F89-47A9-95EC-CAF62E28B9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4390e8-bc0c-49e6-aa04-a860ed32c5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148B549-9156-4B6E-97E1-717ACBD0E46F}">
  <ds:schemaRefs>
    <ds:schemaRef ds:uri="http://www.w3.org/XML/1998/namespace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schemas.microsoft.com/office/2006/documentManagement/types"/>
    <ds:schemaRef ds:uri="404390e8-bc0c-49e6-aa04-a860ed32c5e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73</TotalTime>
  <Words>3110</Words>
  <Application>Microsoft Office PowerPoint</Application>
  <PresentationFormat>Произвольный</PresentationFormat>
  <Paragraphs>708</Paragraphs>
  <Slides>17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Arial</vt:lpstr>
      <vt:lpstr>Arial Narrow</vt:lpstr>
      <vt:lpstr>Calibri</vt:lpstr>
      <vt:lpstr>Helvetica</vt:lpstr>
      <vt:lpstr>Helvetica Light</vt:lpstr>
      <vt:lpstr>Helvetica Neue</vt:lpstr>
      <vt:lpstr>Times New Roman</vt:lpstr>
      <vt:lpstr>Wingdings</vt:lpstr>
      <vt:lpstr>Whi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ладимир Кремлёв</dc:creator>
  <cp:lastModifiedBy>Веселов Дмитрий Александрович</cp:lastModifiedBy>
  <cp:revision>514</cp:revision>
  <dcterms:modified xsi:type="dcterms:W3CDTF">2023-04-13T11:3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41FCAD46256643A4B894E12378877F</vt:lpwstr>
  </property>
</Properties>
</file>